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8" r:id="rId6"/>
  </p:sldMasterIdLst>
  <p:notesMasterIdLst>
    <p:notesMasterId r:id="rId19"/>
  </p:notesMasterIdLst>
  <p:handoutMasterIdLst>
    <p:handoutMasterId r:id="rId20"/>
  </p:handoutMasterIdLst>
  <p:sldIdLst>
    <p:sldId id="256" r:id="rId7"/>
    <p:sldId id="698" r:id="rId8"/>
    <p:sldId id="700" r:id="rId9"/>
    <p:sldId id="257" r:id="rId10"/>
    <p:sldId id="704" r:id="rId11"/>
    <p:sldId id="701" r:id="rId12"/>
    <p:sldId id="703" r:id="rId13"/>
    <p:sldId id="706" r:id="rId14"/>
    <p:sldId id="710" r:id="rId15"/>
    <p:sldId id="707" r:id="rId16"/>
    <p:sldId id="705" r:id="rId17"/>
    <p:sldId id="70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6BC25"/>
    <a:srgbClr val="43B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99E80F-6D55-476D-8C85-0438439AF42F}" v="165" dt="2023-04-10T08:15:06.8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5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laint tweet coun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AmazonHelp </c:v>
                </c:pt>
                <c:pt idx="1">
                  <c:v>AppleSupport    </c:v>
                </c:pt>
                <c:pt idx="2">
                  <c:v>Uber_Support    </c:v>
                </c:pt>
                <c:pt idx="3">
                  <c:v>Delta           </c:v>
                </c:pt>
                <c:pt idx="4">
                  <c:v>AmericanAir     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6390</c:v>
                </c:pt>
                <c:pt idx="1">
                  <c:v>51863</c:v>
                </c:pt>
                <c:pt idx="2">
                  <c:v>36422</c:v>
                </c:pt>
                <c:pt idx="3">
                  <c:v>25212</c:v>
                </c:pt>
                <c:pt idx="4">
                  <c:v>22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6A-43A7-ADC1-CDA9F12D7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1178416"/>
        <c:axId val="1921176336"/>
      </c:barChart>
      <c:catAx>
        <c:axId val="1921178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1176336"/>
        <c:crosses val="autoZero"/>
        <c:auto val="1"/>
        <c:lblAlgn val="ctr"/>
        <c:lblOffset val="100"/>
        <c:noMultiLvlLbl val="0"/>
      </c:catAx>
      <c:valAx>
        <c:axId val="1921176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117841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0372762414554029"/>
                  <c:y val="0.14415323177628761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CBE-4D49-A9DA-3261F5EBA0CB}"/>
                </c:ext>
              </c:extLst>
            </c:dLbl>
            <c:dLbl>
              <c:idx val="1"/>
              <c:layout>
                <c:manualLayout>
                  <c:x val="-0.10603268245988563"/>
                  <c:y val="-0.14728699768446776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BE-4D49-A9DA-3261F5EBA0CB}"/>
                </c:ext>
              </c:extLst>
            </c:dLbl>
            <c:dLbl>
              <c:idx val="2"/>
              <c:layout>
                <c:manualLayout>
                  <c:x val="4.6101166286906794E-3"/>
                  <c:y val="8.1477913612684305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BE-4D49-A9DA-3261F5EBA0CB}"/>
                </c:ext>
              </c:extLst>
            </c:dLbl>
            <c:dLbl>
              <c:idx val="3"/>
              <c:layout>
                <c:manualLayout>
                  <c:x val="-0.11986303234595776"/>
                  <c:y val="-6.5809084071783472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CBE-4D49-A9DA-3261F5EBA0CB}"/>
                </c:ext>
              </c:extLst>
            </c:dLbl>
            <c:dLbl>
              <c:idx val="4"/>
              <c:layout>
                <c:manualLayout>
                  <c:x val="-1.3830349886072039E-2"/>
                  <c:y val="0.10028050906176529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CBE-4D49-A9DA-3261F5EBA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Sheet1!$A$2:$B$6</c:f>
              <c:multiLvlStrCache>
                <c:ptCount val="5"/>
                <c:lvl>
                  <c:pt idx="0">
                    <c:v>3.61</c:v>
                  </c:pt>
                  <c:pt idx="1">
                    <c:v>3.89</c:v>
                  </c:pt>
                  <c:pt idx="2">
                    <c:v>4.01</c:v>
                  </c:pt>
                  <c:pt idx="3">
                    <c:v>6.07</c:v>
                  </c:pt>
                  <c:pt idx="4">
                    <c:v>6.08</c:v>
                  </c:pt>
                </c:lvl>
                <c:lvl>
                  <c:pt idx="0">
                    <c:v>VerizonSupport</c:v>
                  </c:pt>
                  <c:pt idx="1">
                    <c:v>AlaskaAir</c:v>
                  </c:pt>
                  <c:pt idx="2">
                    <c:v>VirginAmerica</c:v>
                  </c:pt>
                  <c:pt idx="3">
                    <c:v>nationalrailenq</c:v>
                  </c:pt>
                  <c:pt idx="4">
                    <c:v>LondonMidland</c:v>
                  </c:pt>
                </c:lvl>
              </c:multiLvlStrCache>
            </c:multiLvl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.61</c:v>
                </c:pt>
                <c:pt idx="1">
                  <c:v>3.89</c:v>
                </c:pt>
                <c:pt idx="2">
                  <c:v>4.01</c:v>
                </c:pt>
                <c:pt idx="3">
                  <c:v>6.07</c:v>
                </c:pt>
                <c:pt idx="4">
                  <c:v>6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CBE-4D49-A9DA-3261F5EBA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0723776"/>
        <c:axId val="670721280"/>
      </c:lineChart>
      <c:valAx>
        <c:axId val="670721280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0723776"/>
        <c:crosses val="autoZero"/>
        <c:crossBetween val="between"/>
      </c:valAx>
      <c:catAx>
        <c:axId val="6707237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low"/>
        <c:crossAx val="670721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7684F4-3356-4EDF-A096-658DE7CB15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EF0E13-71EF-436A-B1B5-C51570A1B17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DCB85-2462-4FF2-B82C-4A0CDD7985AD}" type="datetimeFigureOut">
              <a:rPr lang="en-US" smtClean="0"/>
              <a:t>4/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3D2F1A-123F-4141-AC0E-F36C44AE741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C6B805-4614-45B9-85E0-0485BAE9CB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3E5C6B-7ACA-4AAC-A3DE-DC35CF973A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90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6DC3A-7B7E-40E7-A07E-ABD8ABC4F097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674897-4F34-4F61-8406-6A5BD9B35E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5247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8EC8F7-8AA7-4EA6-92E8-FF2C752CD4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A50431-14A0-4C50-8BC0-BF4DCBA26C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B5BBA-E24C-4B89-B036-FB55792BC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58C637-EF4C-4917-AE99-BB0ACBD92A46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E3333E-9A12-4BE5-BAC1-E20B47722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CCD1DD-1F54-4A81-8E74-5FCDC9984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69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CF724-8CC4-44E8-86E6-351212DED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115C9C-DC5A-449D-B5A7-D2B2F31514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D824DF-C298-4CD1-97D4-11CC7882B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8DFC3-E3AF-4845-AEFB-A86934C90D5B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5BC37-C88E-48FD-AD5D-E23E0EEF9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B9A0F1-08B7-4671-99CB-B4BE1EB18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35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28E182-25BE-4150-AFB0-A7EE9FA336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43FBA3-19CD-4BAF-AF42-1D28E818B1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6529F7-2CA1-4EEB-84AA-EC9285153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36BB3-2DEF-49F0-838C-FD1EEC351840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31FB68-AE44-49BB-B569-20E839EBB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6A0BB-70DC-4F9D-B69B-484823C1D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4730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48760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58270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462197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6789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4977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60778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956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95957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D4B4C3-EFCA-47CB-8658-8ED733138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F41A88-DAD2-4CCB-9477-5EF559366C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88012D-7E94-4D11-9651-2544635D0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7D990-AD02-4C69-A00D-6ADA83647DED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757D82-4513-4FD6-A1DE-A6FBC0D44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B71413-7612-48BE-ABB0-DFEC05F92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106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353570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803801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366507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6242042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593115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246681-6B63-4780-B3BA-F1BAF9F20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628655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499951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3202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5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05554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7A99C-471C-4487-A9ED-939B2D310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E78DD1-47BB-4451-B0DE-E075A533B0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4CF8D5-DCC6-41D8-B2CE-28DA0CCF2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1BED7-33D4-4A46-BC3E-CF032E75B5D5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DD8E66-A17B-45D9-A131-8873385A7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4727DE-B869-43CC-B9F9-C562F85B2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9186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231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442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369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904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627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061359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007984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90504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6591990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E9F15-F8B0-4F1D-947B-D500B0B5A6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8A54DA-7E8B-4D73-BA7B-035F1513CA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4CCC30-1061-418E-9C8A-FF9439E7E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C73EF9-76CE-4A69-87FD-081716491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3656F2-7FBA-4536-AE80-464738166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489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75C51-BEE3-4678-B6DB-18132B861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76E6FD-4263-468B-A54C-205121E663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60DBC5-530D-468B-8A85-31A768A0DE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F76EC4-4CE3-49E9-A885-85C0BB9B0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302585-927E-47D3-90B0-E2BCC9AB82FD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9CCDEC-F085-4D32-A748-9509C38FF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899DAD-2D15-4E32-88BD-AD3274DD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4072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AB93C-A2E3-450B-97A5-60B72039A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3C296-430F-4695-868D-22A389CABC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E22D4-B35D-4F13-9053-7E7AD6E429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AD864-B782-454A-BD29-F645339AA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9C345B-3D8A-45C5-BD43-0D957452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7169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7BBFA-421D-48EE-9AAB-0E07CD9BF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86CD9-EF1B-4061-98D5-F6632CA72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6DAF9-CAEB-4B77-B3A2-09F36FC74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2EA99-2958-407B-99AF-FA6A2BD95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563E29-4D68-41B1-A012-3AA495CA6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2474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E1258-8211-4037-AE55-A8E66AA80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EFE13E-998B-4A38-980E-CA6646BEF0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9E175C-0037-4AE7-AC87-D8CB4058EF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053AB9-3B08-49B9-B95A-FA36FAC80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3775AF-DFFF-48F2-89D0-08187E29C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0FFA1C-6CBF-4E4B-9A4B-FFA99FB2C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286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20DD3-AF60-404B-B0F4-6F32BA5B8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7B758D-0650-40EF-A8A8-34328D2CEA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179A8F-CBB1-4277-BF96-D5C4A32A84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8D3EEF-5473-4FB1-88ED-582872F09E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9006C1-F7BF-4CDE-ACC3-F82593BB8D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7531A-91F5-47FD-9034-7BB2B9684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D2B6B8-7513-4326-9E6C-C9CD82FD7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6CD7C1-636E-4AE3-B6F1-F81518B03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184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F48E60-DA5E-4D5A-9047-CA41B247E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03E7CE-C24E-46C2-BDE7-5BEC1A2EB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9A3C2D-3F80-41E1-8CC6-96646E24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57AE3A-CC66-4198-8AE4-41DDC1023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367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9DADF1-8311-4E4F-8462-119028CAB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0F5347-FE00-44BC-927B-122A26B94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6F3256-C4E4-467D-B725-469CDEB21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40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F1ED1-CF2A-40E1-98F5-E5691CC42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69B3B9-F407-4535-8D01-06D604C79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8969D3-EE1F-4D95-978D-B19DA58B9F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BCBA35-3D08-4B21-B0D9-06BA03CEB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165A5C-CAB7-4810-8D35-C8E5DD2E9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F4FCB1-47C5-4DE4-94FA-A7545F549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877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BE1C8-D220-4E29-AF3C-26C171656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C6AA21-841F-4FEE-A521-7BB8811845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42A6BB-0274-480D-937A-9CC00FA76A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EEEBDD-3B27-4D5F-A6AE-E8594841A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0AC3EA-4FB0-4761-8A2A-4012C257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B984A0-88F6-4AEA-BD53-C7E4F090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4491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3ADD76-D676-40DD-898F-F42BBDE1B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6CEF92-EBB7-4D49-A6B8-EABF310394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04F8D-3C3A-4455-A48E-BCAC6FF45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36076D-465E-4BE0-A258-43AAF58D0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6BDE7D-A034-437C-BE27-9061404C2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98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C5B12D-D56F-4B0B-9BAB-ABC1CEC0B5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2DDEF4-75D5-4B93-BA37-9259ACF18A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1F959B-D690-43DB-B72B-B6B823CB0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058877-49EF-45ED-8CDF-B5483A371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AEF4F-114F-4CCD-80CB-E597064F5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358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036B5C-1948-44D0-9820-34C2CC9AA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B0E5E-5C3E-4D45-B4D4-412476D7DE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E0E90-D980-4D9A-A14C-A478B67999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9493F7-49B4-44D8-94D2-6CC1081A76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CE578D-A787-45DE-8FD3-980126086A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A4A392-074C-41FC-90DD-1F640292A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947E6-DF84-4CFF-8DDC-612B310EBA61}" type="datetime1">
              <a:rPr lang="en-US" smtClean="0"/>
              <a:t>4/6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E1C6B06-53E7-45B2-8108-3320DE4A0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4A37C-6FFB-41EB-84F0-5A2FAA935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72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A2A79-FD78-4F84-AEB6-6204A425C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C19B9A-B67A-4B1E-963E-668093A25F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8BCC7-5FD5-4AFE-9D49-4712C0BEF80C}" type="datetime1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952BFD-305C-46E8-996C-749E1FB84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96BA66-F36F-439F-841F-5FE70A852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974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4D5E96-ED8B-475B-B432-8320BD34A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1C625-A094-405A-B495-95160DCD23E0}" type="datetime1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6AB8D6-124E-4869-9C79-758B3C202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084756-4F0A-4B98-A9DB-5469951C3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920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BA8BA-786D-4D48-BE55-9AE1450D8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0E77FF-D66B-484A-95A8-59A90FA615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41CF00-2164-4A67-8427-28D439EB7D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104365-D1AB-4BF1-86B4-E1BA9A4775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309F53-9BFE-453C-B4A0-8FC05500B76C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0C443F-B2D9-459C-ABD6-0B704A3A5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9AC4A8-E9D0-4794-88AB-B63866F58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59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5E68F-670F-4137-B8AC-35C6C40C5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792451-21BB-4269-827C-3AC91F57DD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91A3D4-0D6A-493B-B716-DB0FE55AA2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96657B-0E6F-41C0-9C7E-63A52244E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FB76F-73C6-4324-B4A8-268ADA6365C0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23FD2C-7A49-4DED-9A92-6D2F0C085E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wittter Customer Complaints, Sentiment Analisy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E3F79-970A-4E44-A372-C383855F8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029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F0B11D-67FF-4C9D-91B7-11510DAB8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A9318C-C78F-4977-84FA-68FA8DF5CB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AEEFFA-D192-48B1-8EF5-760E4E7B9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22C1-FE48-47BF-A337-8E382AC8CC62}" type="datetime1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CCC730-63A0-4E4D-AAC7-7FB2BD1FD3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wittter Customer Complaints, Sentiment Analisy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DA1C3-70C7-40E0-8B4E-C2D56AE9C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EECC56-2054-4D8B-AEBF-F4505D984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16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30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840">
          <p15:clr>
            <a:srgbClr val="F26B43"/>
          </p15:clr>
        </p15:guide>
        <p15:guide id="53" pos="3912">
          <p15:clr>
            <a:srgbClr val="F26B43"/>
          </p15:clr>
        </p15:guide>
        <p15:guide id="54" pos="3768">
          <p15:clr>
            <a:srgbClr val="F26B43"/>
          </p15:clr>
        </p15:guide>
        <p15:guide id="55" pos="4968">
          <p15:clr>
            <a:srgbClr val="F26B43"/>
          </p15:clr>
        </p15:guide>
        <p15:guide id="56" pos="5088">
          <p15:clr>
            <a:srgbClr val="F26B43"/>
          </p15:clr>
        </p15:guide>
        <p15:guide id="57" pos="6168">
          <p15:clr>
            <a:srgbClr val="F26B43"/>
          </p15:clr>
        </p15:guide>
        <p15:guide id="58" pos="6288">
          <p15:clr>
            <a:srgbClr val="F26B43"/>
          </p15:clr>
        </p15:guide>
        <p15:guide id="59" pos="2712">
          <p15:clr>
            <a:srgbClr val="F26B43"/>
          </p15:clr>
        </p15:guide>
        <p15:guide id="60" pos="2592">
          <p15:clr>
            <a:srgbClr val="F26B43"/>
          </p15:clr>
        </p15:guide>
        <p15:guide id="61" pos="1512">
          <p15:clr>
            <a:srgbClr val="F26B43"/>
          </p15:clr>
        </p15:guide>
        <p15:guide id="62" pos="1392">
          <p15:clr>
            <a:srgbClr val="F26B43"/>
          </p15:clr>
        </p15:guide>
        <p15:guide id="63" pos="312">
          <p15:clr>
            <a:srgbClr val="F26B43"/>
          </p15:clr>
        </p15:guide>
        <p15:guide id="64" orient="horz" pos="1056">
          <p15:clr>
            <a:srgbClr val="F26B43"/>
          </p15:clr>
        </p15:guide>
        <p15:guide id="65" orient="horz" pos="2232">
          <p15:clr>
            <a:srgbClr val="F26B43"/>
          </p15:clr>
        </p15:guide>
        <p15:guide id="66" orient="horz" pos="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E38FC4-30B2-4904-A4C5-673D99F59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DD3E55-542C-45F9-B0DE-00F12FEB19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0A8C98-5369-449F-A549-8FB98DBDB3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B47993-F856-48FA-82AC-702733B224C8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2E7C17-E45C-482D-B512-269E4A02DA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FC35AB-4596-44CE-B877-2BFB409E7F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4AAD80-A0F9-4166-A806-381F7702B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992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12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microsoft.com/office/2007/relationships/hdphoto" Target="../media/hdphoto7.wdp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4" name="Rectangle 1053">
            <a:extLst>
              <a:ext uri="{FF2B5EF4-FFF2-40B4-BE49-F238E27FC236}">
                <a16:creationId xmlns:a16="http://schemas.microsoft.com/office/drawing/2014/main" id="{A3363022-C969-41E9-8EB2-E4C94908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2191695" cy="6852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6" name="Rectangle 1055">
            <a:extLst>
              <a:ext uri="{FF2B5EF4-FFF2-40B4-BE49-F238E27FC236}">
                <a16:creationId xmlns:a16="http://schemas.microsoft.com/office/drawing/2014/main" id="{8D1AD6B3-BE88-4CEB-BA17-790657CC47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33ADC667-17BE-4CEA-942B-252D303711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470" y="3435208"/>
            <a:ext cx="4141760" cy="901983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89D1390B-7E13-4B4F-9CB2-391063412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9E720206-AA49-4786-A932-A2650DE0918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34854"/>
              <a:ext cx="6028697" cy="6817170"/>
            </a:xfrm>
            <a:custGeom>
              <a:avLst/>
              <a:gdLst>
                <a:gd name="connsiteX0" fmla="*/ 6028697 w 6028697"/>
                <a:gd name="connsiteY0" fmla="*/ 6155323 h 6817170"/>
                <a:gd name="connsiteX1" fmla="*/ 6028697 w 6028697"/>
                <a:gd name="connsiteY1" fmla="*/ 6817170 h 6817170"/>
                <a:gd name="connsiteX2" fmla="*/ 5157862 w 6028697"/>
                <a:gd name="connsiteY2" fmla="*/ 6817170 h 6817170"/>
                <a:gd name="connsiteX3" fmla="*/ 5347156 w 6028697"/>
                <a:gd name="connsiteY3" fmla="*/ 6687553 h 6817170"/>
                <a:gd name="connsiteX4" fmla="*/ 5487470 w 6028697"/>
                <a:gd name="connsiteY4" fmla="*/ 6581714 h 6817170"/>
                <a:gd name="connsiteX5" fmla="*/ 5627642 w 6028697"/>
                <a:gd name="connsiteY5" fmla="*/ 6472328 h 6817170"/>
                <a:gd name="connsiteX6" fmla="*/ 5911392 w 6028697"/>
                <a:gd name="connsiteY6" fmla="*/ 6245328 h 6817170"/>
                <a:gd name="connsiteX7" fmla="*/ 4481066 w 6028697"/>
                <a:gd name="connsiteY7" fmla="*/ 478 h 6817170"/>
                <a:gd name="connsiteX8" fmla="*/ 4672258 w 6028697"/>
                <a:gd name="connsiteY8" fmla="*/ 7519 h 6817170"/>
                <a:gd name="connsiteX9" fmla="*/ 5429869 w 6028697"/>
                <a:gd name="connsiteY9" fmla="*/ 125134 h 6817170"/>
                <a:gd name="connsiteX10" fmla="*/ 5976319 w 6028697"/>
                <a:gd name="connsiteY10" fmla="*/ 314893 h 6817170"/>
                <a:gd name="connsiteX11" fmla="*/ 6028697 w 6028697"/>
                <a:gd name="connsiteY11" fmla="*/ 339901 h 6817170"/>
                <a:gd name="connsiteX12" fmla="*/ 6028697 w 6028697"/>
                <a:gd name="connsiteY12" fmla="*/ 732458 h 6817170"/>
                <a:gd name="connsiteX13" fmla="*/ 5990985 w 6028697"/>
                <a:gd name="connsiteY13" fmla="*/ 712211 h 6817170"/>
                <a:gd name="connsiteX14" fmla="*/ 5341339 w 6028697"/>
                <a:gd name="connsiteY14" fmla="*/ 475281 h 6817170"/>
                <a:gd name="connsiteX15" fmla="*/ 4651969 w 6028697"/>
                <a:gd name="connsiteY15" fmla="*/ 377104 h 6817170"/>
                <a:gd name="connsiteX16" fmla="*/ 3953093 w 6028697"/>
                <a:gd name="connsiteY16" fmla="*/ 402498 h 6817170"/>
                <a:gd name="connsiteX17" fmla="*/ 3267413 w 6028697"/>
                <a:gd name="connsiteY17" fmla="*/ 546643 h 6817170"/>
                <a:gd name="connsiteX18" fmla="*/ 1439498 w 6028697"/>
                <a:gd name="connsiteY18" fmla="*/ 1568141 h 6817170"/>
                <a:gd name="connsiteX19" fmla="*/ 960671 w 6028697"/>
                <a:gd name="connsiteY19" fmla="*/ 2082013 h 6817170"/>
                <a:gd name="connsiteX20" fmla="*/ 581866 w 6028697"/>
                <a:gd name="connsiteY20" fmla="*/ 2672638 h 6817170"/>
                <a:gd name="connsiteX21" fmla="*/ 324789 w 6028697"/>
                <a:gd name="connsiteY21" fmla="*/ 3325262 h 6817170"/>
                <a:gd name="connsiteX22" fmla="*/ 231151 w 6028697"/>
                <a:gd name="connsiteY22" fmla="*/ 4022292 h 6817170"/>
                <a:gd name="connsiteX23" fmla="*/ 270592 w 6028697"/>
                <a:gd name="connsiteY23" fmla="*/ 4362792 h 6817170"/>
                <a:gd name="connsiteX24" fmla="*/ 387213 w 6028697"/>
                <a:gd name="connsiteY24" fmla="*/ 4681585 h 6817170"/>
                <a:gd name="connsiteX25" fmla="*/ 468507 w 6028697"/>
                <a:gd name="connsiteY25" fmla="*/ 4831546 h 6817170"/>
                <a:gd name="connsiteX26" fmla="*/ 561862 w 6028697"/>
                <a:gd name="connsiteY26" fmla="*/ 4976826 h 6817170"/>
                <a:gd name="connsiteX27" fmla="*/ 777511 w 6028697"/>
                <a:gd name="connsiteY27" fmla="*/ 5257597 h 6817170"/>
                <a:gd name="connsiteX28" fmla="*/ 1010895 w 6028697"/>
                <a:gd name="connsiteY28" fmla="*/ 5540494 h 6817170"/>
                <a:gd name="connsiteX29" fmla="*/ 1126948 w 6028697"/>
                <a:gd name="connsiteY29" fmla="*/ 5688186 h 6817170"/>
                <a:gd name="connsiteX30" fmla="*/ 1182706 w 6028697"/>
                <a:gd name="connsiteY30" fmla="*/ 5760543 h 6817170"/>
                <a:gd name="connsiteX31" fmla="*/ 1237327 w 6028697"/>
                <a:gd name="connsiteY31" fmla="*/ 5830060 h 6817170"/>
                <a:gd name="connsiteX32" fmla="*/ 1706649 w 6028697"/>
                <a:gd name="connsiteY32" fmla="*/ 6342797 h 6817170"/>
                <a:gd name="connsiteX33" fmla="*/ 1956207 w 6028697"/>
                <a:gd name="connsiteY33" fmla="*/ 6573484 h 6817170"/>
                <a:gd name="connsiteX34" fmla="*/ 2217681 w 6028697"/>
                <a:gd name="connsiteY34" fmla="*/ 6786297 h 6817170"/>
                <a:gd name="connsiteX35" fmla="*/ 2260820 w 6028697"/>
                <a:gd name="connsiteY35" fmla="*/ 6817170 h 6817170"/>
                <a:gd name="connsiteX36" fmla="*/ 1429497 w 6028697"/>
                <a:gd name="connsiteY36" fmla="*/ 6817170 h 6817170"/>
                <a:gd name="connsiteX37" fmla="*/ 1327275 w 6028697"/>
                <a:gd name="connsiteY37" fmla="*/ 6713800 h 6817170"/>
                <a:gd name="connsiteX38" fmla="*/ 1080556 w 6028697"/>
                <a:gd name="connsiteY38" fmla="*/ 6414443 h 6817170"/>
                <a:gd name="connsiteX39" fmla="*/ 865189 w 6028697"/>
                <a:gd name="connsiteY39" fmla="*/ 6097496 h 6817170"/>
                <a:gd name="connsiteX40" fmla="*/ 814823 w 6028697"/>
                <a:gd name="connsiteY40" fmla="*/ 6016911 h 6817170"/>
                <a:gd name="connsiteX41" fmla="*/ 766729 w 6028697"/>
                <a:gd name="connsiteY41" fmla="*/ 5938453 h 6817170"/>
                <a:gd name="connsiteX42" fmla="*/ 671672 w 6028697"/>
                <a:gd name="connsiteY42" fmla="*/ 5786648 h 6817170"/>
                <a:gd name="connsiteX43" fmla="*/ 474608 w 6028697"/>
                <a:gd name="connsiteY43" fmla="*/ 5474664 h 6817170"/>
                <a:gd name="connsiteX44" fmla="*/ 282652 w 6028697"/>
                <a:gd name="connsiteY44" fmla="*/ 5146508 h 6817170"/>
                <a:gd name="connsiteX45" fmla="*/ 196108 w 6028697"/>
                <a:gd name="connsiteY45" fmla="*/ 4972712 h 6817170"/>
                <a:gd name="connsiteX46" fmla="*/ 122474 w 6028697"/>
                <a:gd name="connsiteY46" fmla="*/ 4791821 h 6817170"/>
                <a:gd name="connsiteX47" fmla="*/ 65724 w 6028697"/>
                <a:gd name="connsiteY47" fmla="*/ 4603129 h 6817170"/>
                <a:gd name="connsiteX48" fmla="*/ 44727 w 6028697"/>
                <a:gd name="connsiteY48" fmla="*/ 4506937 h 6817170"/>
                <a:gd name="connsiteX49" fmla="*/ 35505 w 6028697"/>
                <a:gd name="connsiteY49" fmla="*/ 4458699 h 6817170"/>
                <a:gd name="connsiteX50" fmla="*/ 27845 w 6028697"/>
                <a:gd name="connsiteY50" fmla="*/ 4410320 h 6817170"/>
                <a:gd name="connsiteX51" fmla="*/ 37 w 6028697"/>
                <a:gd name="connsiteY51" fmla="*/ 4022292 h 6817170"/>
                <a:gd name="connsiteX52" fmla="*/ 78777 w 6028697"/>
                <a:gd name="connsiteY52" fmla="*/ 3267236 h 6817170"/>
                <a:gd name="connsiteX53" fmla="*/ 315424 w 6028697"/>
                <a:gd name="connsiteY53" fmla="*/ 2543673 h 6817170"/>
                <a:gd name="connsiteX54" fmla="*/ 1202710 w 6028697"/>
                <a:gd name="connsiteY54" fmla="*/ 1314895 h 6817170"/>
                <a:gd name="connsiteX55" fmla="*/ 1791065 w 6028697"/>
                <a:gd name="connsiteY55" fmla="*/ 833514 h 6817170"/>
                <a:gd name="connsiteX56" fmla="*/ 3908404 w 6028697"/>
                <a:gd name="connsiteY56" fmla="*/ 29794 h 6817170"/>
                <a:gd name="connsiteX57" fmla="*/ 4481066 w 6028697"/>
                <a:gd name="connsiteY57" fmla="*/ 478 h 68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28697" h="681717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C72F6EE6-EDE9-45A5-8F6D-02B9B7CB2C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1"/>
              <a:ext cx="6165116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C093DC50-3BD7-46B1-A300-CD207E152F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>
              <a:off x="305" y="-5977"/>
              <a:ext cx="6238675" cy="6858001"/>
            </a:xfrm>
            <a:custGeom>
              <a:avLst/>
              <a:gdLst>
                <a:gd name="connsiteX0" fmla="*/ 6264586 w 6264586"/>
                <a:gd name="connsiteY0" fmla="*/ 6646464 h 6858001"/>
                <a:gd name="connsiteX1" fmla="*/ 6264586 w 6264586"/>
                <a:gd name="connsiteY1" fmla="*/ 6858001 h 6858001"/>
                <a:gd name="connsiteX2" fmla="*/ 5997170 w 6264586"/>
                <a:gd name="connsiteY2" fmla="*/ 6858001 h 6858001"/>
                <a:gd name="connsiteX3" fmla="*/ 6121512 w 6264586"/>
                <a:gd name="connsiteY3" fmla="*/ 6761029 h 6858001"/>
                <a:gd name="connsiteX4" fmla="*/ 2693206 w 6264586"/>
                <a:gd name="connsiteY4" fmla="*/ 0 h 6858001"/>
                <a:gd name="connsiteX5" fmla="*/ 5872285 w 6264586"/>
                <a:gd name="connsiteY5" fmla="*/ 0 h 6858001"/>
                <a:gd name="connsiteX6" fmla="*/ 6024875 w 6264586"/>
                <a:gd name="connsiteY6" fmla="*/ 68385 h 6858001"/>
                <a:gd name="connsiteX7" fmla="*/ 6206432 w 6264586"/>
                <a:gd name="connsiteY7" fmla="*/ 162336 h 6858001"/>
                <a:gd name="connsiteX8" fmla="*/ 6264586 w 6264586"/>
                <a:gd name="connsiteY8" fmla="*/ 196704 h 6858001"/>
                <a:gd name="connsiteX9" fmla="*/ 6264586 w 6264586"/>
                <a:gd name="connsiteY9" fmla="*/ 537242 h 6858001"/>
                <a:gd name="connsiteX10" fmla="*/ 6230189 w 6264586"/>
                <a:gd name="connsiteY10" fmla="*/ 517260 h 6858001"/>
                <a:gd name="connsiteX11" fmla="*/ 5540536 w 6264586"/>
                <a:gd name="connsiteY11" fmla="*/ 249543 h 6858001"/>
                <a:gd name="connsiteX12" fmla="*/ 5178896 w 6264586"/>
                <a:gd name="connsiteY12" fmla="*/ 178606 h 6858001"/>
                <a:gd name="connsiteX13" fmla="*/ 4814279 w 6264586"/>
                <a:gd name="connsiteY13" fmla="*/ 146683 h 6858001"/>
                <a:gd name="connsiteX14" fmla="*/ 4655095 w 6264586"/>
                <a:gd name="connsiteY14" fmla="*/ 143421 h 6858001"/>
                <a:gd name="connsiteX15" fmla="*/ 4081069 w 6264586"/>
                <a:gd name="connsiteY15" fmla="*/ 185983 h 6858001"/>
                <a:gd name="connsiteX16" fmla="*/ 3720566 w 6264586"/>
                <a:gd name="connsiteY16" fmla="*/ 256921 h 6858001"/>
                <a:gd name="connsiteX17" fmla="*/ 3365879 w 6264586"/>
                <a:gd name="connsiteY17" fmla="*/ 357651 h 6858001"/>
                <a:gd name="connsiteX18" fmla="*/ 3020555 w 6264586"/>
                <a:gd name="connsiteY18" fmla="*/ 486190 h 6858001"/>
                <a:gd name="connsiteX19" fmla="*/ 2685163 w 6264586"/>
                <a:gd name="connsiteY19" fmla="*/ 641542 h 6858001"/>
                <a:gd name="connsiteX20" fmla="*/ 2047720 w 6264586"/>
                <a:gd name="connsiteY20" fmla="*/ 1025030 h 6858001"/>
                <a:gd name="connsiteX21" fmla="*/ 1897333 w 6264586"/>
                <a:gd name="connsiteY21" fmla="*/ 1134983 h 6858001"/>
                <a:gd name="connsiteX22" fmla="*/ 1835758 w 6264586"/>
                <a:gd name="connsiteY22" fmla="*/ 1182227 h 6858001"/>
                <a:gd name="connsiteX23" fmla="*/ 1823273 w 6264586"/>
                <a:gd name="connsiteY23" fmla="*/ 1192016 h 6858001"/>
                <a:gd name="connsiteX24" fmla="*/ 1750918 w 6264586"/>
                <a:gd name="connsiteY24" fmla="*/ 1249760 h 6858001"/>
                <a:gd name="connsiteX25" fmla="*/ 1469297 w 6264586"/>
                <a:gd name="connsiteY25" fmla="*/ 1496906 h 6858001"/>
                <a:gd name="connsiteX26" fmla="*/ 967769 w 6264586"/>
                <a:gd name="connsiteY26" fmla="*/ 2056602 h 6858001"/>
                <a:gd name="connsiteX27" fmla="*/ 754105 w 6264586"/>
                <a:gd name="connsiteY27" fmla="*/ 2368727 h 6858001"/>
                <a:gd name="connsiteX28" fmla="*/ 572364 w 6264586"/>
                <a:gd name="connsiteY28" fmla="*/ 2701140 h 6858001"/>
                <a:gd name="connsiteX29" fmla="*/ 532497 w 6264586"/>
                <a:gd name="connsiteY29" fmla="*/ 2786265 h 6858001"/>
                <a:gd name="connsiteX30" fmla="*/ 512918 w 6264586"/>
                <a:gd name="connsiteY30" fmla="*/ 2828827 h 6858001"/>
                <a:gd name="connsiteX31" fmla="*/ 494475 w 6264586"/>
                <a:gd name="connsiteY31" fmla="*/ 2872240 h 6858001"/>
                <a:gd name="connsiteX32" fmla="*/ 491637 w 6264586"/>
                <a:gd name="connsiteY32" fmla="*/ 2878908 h 6858001"/>
                <a:gd name="connsiteX33" fmla="*/ 459290 w 6264586"/>
                <a:gd name="connsiteY33" fmla="*/ 2959635 h 6858001"/>
                <a:gd name="connsiteX34" fmla="*/ 446805 w 6264586"/>
                <a:gd name="connsiteY34" fmla="*/ 2992408 h 6858001"/>
                <a:gd name="connsiteX35" fmla="*/ 426090 w 6264586"/>
                <a:gd name="connsiteY35" fmla="*/ 3049158 h 6858001"/>
                <a:gd name="connsiteX36" fmla="*/ 426090 w 6264586"/>
                <a:gd name="connsiteY36" fmla="*/ 3049867 h 6858001"/>
                <a:gd name="connsiteX37" fmla="*/ 318124 w 6264586"/>
                <a:gd name="connsiteY37" fmla="*/ 3414202 h 6858001"/>
                <a:gd name="connsiteX38" fmla="*/ 230729 w 6264586"/>
                <a:gd name="connsiteY38" fmla="*/ 4169260 h 6858001"/>
                <a:gd name="connsiteX39" fmla="*/ 268893 w 6264586"/>
                <a:gd name="connsiteY39" fmla="*/ 4544236 h 6858001"/>
                <a:gd name="connsiteX40" fmla="*/ 379840 w 6264586"/>
                <a:gd name="connsiteY40" fmla="*/ 4900056 h 6858001"/>
                <a:gd name="connsiteX41" fmla="*/ 406512 w 6264586"/>
                <a:gd name="connsiteY41" fmla="*/ 4960211 h 6858001"/>
                <a:gd name="connsiteX42" fmla="*/ 417862 w 6264586"/>
                <a:gd name="connsiteY42" fmla="*/ 4984613 h 6858001"/>
                <a:gd name="connsiteX43" fmla="*/ 428077 w 6264586"/>
                <a:gd name="connsiteY43" fmla="*/ 5005043 h 6858001"/>
                <a:gd name="connsiteX44" fmla="*/ 460140 w 6264586"/>
                <a:gd name="connsiteY44" fmla="*/ 5067327 h 6858001"/>
                <a:gd name="connsiteX45" fmla="*/ 555197 w 6264586"/>
                <a:gd name="connsiteY45" fmla="*/ 5229773 h 6858001"/>
                <a:gd name="connsiteX46" fmla="*/ 660611 w 6264586"/>
                <a:gd name="connsiteY46" fmla="*/ 5387396 h 6858001"/>
                <a:gd name="connsiteX47" fmla="*/ 774110 w 6264586"/>
                <a:gd name="connsiteY47" fmla="*/ 5542182 h 6858001"/>
                <a:gd name="connsiteX48" fmla="*/ 917829 w 6264586"/>
                <a:gd name="connsiteY48" fmla="*/ 5727896 h 6858001"/>
                <a:gd name="connsiteX49" fmla="*/ 1012885 w 6264586"/>
                <a:gd name="connsiteY49" fmla="*/ 5849767 h 6858001"/>
                <a:gd name="connsiteX50" fmla="*/ 1133053 w 6264586"/>
                <a:gd name="connsiteY50" fmla="*/ 6006822 h 6858001"/>
                <a:gd name="connsiteX51" fmla="*/ 1194343 w 6264586"/>
                <a:gd name="connsiteY51" fmla="*/ 6090245 h 6858001"/>
                <a:gd name="connsiteX52" fmla="*/ 1249390 w 6264586"/>
                <a:gd name="connsiteY52" fmla="*/ 6165155 h 6858001"/>
                <a:gd name="connsiteX53" fmla="*/ 1345724 w 6264586"/>
                <a:gd name="connsiteY53" fmla="*/ 6292132 h 6858001"/>
                <a:gd name="connsiteX54" fmla="*/ 1364310 w 6264586"/>
                <a:gd name="connsiteY54" fmla="*/ 6316251 h 6858001"/>
                <a:gd name="connsiteX55" fmla="*/ 1373673 w 6264586"/>
                <a:gd name="connsiteY55" fmla="*/ 6327885 h 6858001"/>
                <a:gd name="connsiteX56" fmla="*/ 1484619 w 6264586"/>
                <a:gd name="connsiteY56" fmla="*/ 6462240 h 6858001"/>
                <a:gd name="connsiteX57" fmla="*/ 1739000 w 6264586"/>
                <a:gd name="connsiteY57" fmla="*/ 6737335 h 6858001"/>
                <a:gd name="connsiteX58" fmla="*/ 1866801 w 6264586"/>
                <a:gd name="connsiteY58" fmla="*/ 6858001 h 6858001"/>
                <a:gd name="connsiteX59" fmla="*/ 1144149 w 6264586"/>
                <a:gd name="connsiteY59" fmla="*/ 6858001 h 6858001"/>
                <a:gd name="connsiteX60" fmla="*/ 1058349 w 6264586"/>
                <a:gd name="connsiteY60" fmla="*/ 6766452 h 6858001"/>
                <a:gd name="connsiteX61" fmla="*/ 580309 w 6264586"/>
                <a:gd name="connsiteY61" fmla="*/ 6105000 h 6858001"/>
                <a:gd name="connsiteX62" fmla="*/ 1 w 6264586"/>
                <a:gd name="connsiteY62" fmla="*/ 3960094 h 6858001"/>
                <a:gd name="connsiteX63" fmla="*/ 2599292 w 6264586"/>
                <a:gd name="connsiteY63" fmla="*/ 3705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264586" h="6858001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Title 2">
            <a:extLst>
              <a:ext uri="{FF2B5EF4-FFF2-40B4-BE49-F238E27FC236}">
                <a16:creationId xmlns:a16="http://schemas.microsoft.com/office/drawing/2014/main" id="{C9B11EED-3ADD-48EB-9C3A-19E7E39F3F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77821" y="5342797"/>
            <a:ext cx="5070475" cy="895983"/>
          </a:xfrm>
        </p:spPr>
        <p:txBody>
          <a:bodyPr>
            <a:noAutofit/>
          </a:bodyPr>
          <a:lstStyle/>
          <a:p>
            <a:pPr algn="r"/>
            <a:r>
              <a:rPr lang="es-MX" sz="2800" b="1"/>
              <a:t>Twitter Customer Complaint </a:t>
            </a:r>
            <a:br>
              <a:rPr lang="es-MX" sz="2800"/>
            </a:br>
            <a:r>
              <a:rPr lang="es-MX" sz="2800" b="1"/>
              <a:t>Sentiment Analysis</a:t>
            </a: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4251732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876B993-16E6-4C3C-9D02-1D9E524CF8B6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ED2613F9-1BDA-4565-93C2-092D4F511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A662C0E-0E12-42F6-9C26-7EC57C79FB14}"/>
              </a:ext>
            </a:extLst>
          </p:cNvPr>
          <p:cNvSpPr txBox="1">
            <a:spLocks/>
          </p:cNvSpPr>
          <p:nvPr/>
        </p:nvSpPr>
        <p:spPr>
          <a:xfrm>
            <a:off x="427573" y="3581790"/>
            <a:ext cx="2080642" cy="15814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rgbClr val="43B02A"/>
                </a:solidFill>
              </a:rPr>
              <a:t>Sentiment Analysis</a:t>
            </a:r>
          </a:p>
          <a:p>
            <a:pPr marL="0" indent="0">
              <a:buNone/>
            </a:pPr>
            <a:endParaRPr lang="en-US" sz="1600" dirty="0">
              <a:solidFill>
                <a:srgbClr val="43B02A"/>
              </a:solidFill>
            </a:endParaRPr>
          </a:p>
          <a:p>
            <a:pPr marL="0" indent="0">
              <a:buNone/>
            </a:pPr>
            <a:r>
              <a:rPr lang="en-US" sz="1600" dirty="0"/>
              <a:t>1 positive</a:t>
            </a:r>
          </a:p>
          <a:p>
            <a:pPr marL="0" indent="0">
              <a:buNone/>
            </a:pPr>
            <a:r>
              <a:rPr lang="en-US" sz="1600" dirty="0"/>
              <a:t>0 neutral</a:t>
            </a:r>
          </a:p>
          <a:p>
            <a:pPr marL="0" indent="0">
              <a:buNone/>
            </a:pPr>
            <a:r>
              <a:rPr lang="en-US" sz="1600" dirty="0"/>
              <a:t>-1 negative</a:t>
            </a:r>
          </a:p>
          <a:p>
            <a:pPr marL="0" indent="0">
              <a:buNone/>
            </a:pPr>
            <a:endParaRPr lang="en-US" sz="1600" dirty="0">
              <a:solidFill>
                <a:srgbClr val="43B02A"/>
              </a:solidFill>
            </a:endParaRPr>
          </a:p>
          <a:p>
            <a:pPr marL="0" indent="0">
              <a:buNone/>
            </a:pPr>
            <a:endParaRPr lang="en-US" sz="1300" dirty="0">
              <a:solidFill>
                <a:srgbClr val="43B02A"/>
              </a:solidFill>
            </a:endParaRPr>
          </a:p>
          <a:p>
            <a:pPr marL="0" indent="0">
              <a:buNone/>
            </a:pPr>
            <a:endParaRPr lang="en-US" sz="1300" dirty="0"/>
          </a:p>
          <a:p>
            <a:endParaRPr lang="en-US" sz="13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DE0FE00-CF13-4E4B-AD5A-CE07684BFDEB}"/>
              </a:ext>
            </a:extLst>
          </p:cNvPr>
          <p:cNvSpPr/>
          <p:nvPr/>
        </p:nvSpPr>
        <p:spPr>
          <a:xfrm flipV="1">
            <a:off x="502137" y="3886289"/>
            <a:ext cx="2891134" cy="45719"/>
          </a:xfrm>
          <a:prstGeom prst="rect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AF8841-2E4C-495A-9B9E-A16BAC61D4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2253" y="1371186"/>
            <a:ext cx="4205719" cy="442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02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4BC99CB9-DDAD-44A2-8A1C-E3AF4E72DF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4053CBF-3932-45FF-8285-EE5146085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E751C04-BEA6-446B-A678-9C74819EB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-18230" y="-8167"/>
            <a:ext cx="4834070" cy="2488150"/>
            <a:chOff x="6867015" y="-1"/>
            <a:chExt cx="5324985" cy="3251912"/>
          </a:xfrm>
          <a:solidFill>
            <a:schemeClr val="bg1">
              <a:alpha val="30000"/>
            </a:schemeClr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625A013-D9BE-43C4-AF21-6F2B003EFB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7875715-EC2E-457F-851D-F6C817685F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7E41CC6-0C83-40EE-80BB-79394D9E9B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0603498-5DFE-4D26-BFB5-C9269C9BDB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AD6BE9F-5CE2-4C67-A74E-05053BC8F4AF}"/>
              </a:ext>
            </a:extLst>
          </p:cNvPr>
          <p:cNvSpPr txBox="1">
            <a:spLocks/>
          </p:cNvSpPr>
          <p:nvPr/>
        </p:nvSpPr>
        <p:spPr>
          <a:xfrm>
            <a:off x="4477041" y="3113157"/>
            <a:ext cx="3237918" cy="6316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MX" sz="3200" dirty="0">
                <a:solidFill>
                  <a:schemeClr val="tx2"/>
                </a:solidFill>
              </a:rPr>
              <a:t>W</a:t>
            </a:r>
            <a:r>
              <a:rPr lang="en-US" sz="3200" dirty="0">
                <a:solidFill>
                  <a:schemeClr val="tx2"/>
                </a:solidFill>
              </a:rPr>
              <a:t>hat comes next…</a:t>
            </a:r>
            <a:endParaRPr kumimoji="0" lang="en-US" sz="3200" b="0" i="0" u="none" strike="noStrike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63ACBA3-DEFD-4C6D-BBA0-64468FA99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058275" y="4146310"/>
            <a:ext cx="3142400" cy="2716805"/>
            <a:chOff x="-305" y="-4155"/>
            <a:chExt cx="2514948" cy="2174333"/>
          </a:xfrm>
          <a:solidFill>
            <a:schemeClr val="bg1">
              <a:alpha val="30000"/>
            </a:schemeClr>
          </a:solidFill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62F7819D-2B89-4D80-A1C3-8B318116BA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7065990-2350-41B3-858B-20EF8744F2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58DA7EC7-CAA0-4665-AA29-BFBA806ECA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1132A14-489F-4CED-B626-2A1711C987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D132515D-9BCA-43CD-8DA4-171BAE4170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920174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5A292AEA-2528-46C0-B426-95822B61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8B7B198-E4DF-43CD-AD8C-1998843237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BE67753-EA0E-4819-8D22-0B6600CF7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6D63AC-0421-45EC-B383-E79A61A78C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997A32E-7032-4107-9C8B-99DB59EDD5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43BB27F-1470-42CA-91FF-D94BC691C8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997B002-17FD-47B3-A06A-76802FE15C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401EA35-9D2E-43B7-860F-EBB8A6C3E0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8C44827-3D81-4FF9-B4A5-5650D1B20A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613D97F-F6DF-4D32-AD91-209A80E7A2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2B0ED5C-927D-4C5F-8F27-1B403820B9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CF45AF0-6E31-447E-8ED2-2AC471C488ED}"/>
              </a:ext>
            </a:extLst>
          </p:cNvPr>
          <p:cNvSpPr txBox="1"/>
          <p:nvPr/>
        </p:nvSpPr>
        <p:spPr>
          <a:xfrm>
            <a:off x="3502731" y="1542402"/>
            <a:ext cx="5186842" cy="23879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Questions?</a:t>
            </a:r>
            <a:endParaRPr kumimoji="0" lang="en-US" sz="5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7F87F1B-42BA-4AC7-A4E2-41544DDB2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4155"/>
            <a:ext cx="2514948" cy="2174333"/>
            <a:chOff x="-305" y="-4155"/>
            <a:chExt cx="2514948" cy="2174333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8B53067-4E48-4E71-A6A9-A8CAABAFBF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6D1A0D3-4BB8-41D9-9CE7-2884C83F44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1E20F06-3B09-4B89-A36B-AB8BFBCCA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AE6C3D7-7D5B-4926-877D-45F117BB6B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67346A5-7569-4F15-AB5D-BE3DADF19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685727" y="4683666"/>
            <a:ext cx="2514948" cy="2174333"/>
            <a:chOff x="-305" y="-4155"/>
            <a:chExt cx="2514948" cy="2174333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1951533-A568-4765-AB1F-F71D9AFDEA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7214F52-4F3F-4C96-A62E-F1401D6C04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23146A1-291C-4FA0-AB5B-EB04D42398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2977932-2B03-4899-8306-5002CEE68E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A1864715-4466-46C7-992B-334A9E6EE114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70169D93-56F5-4002-9576-285051666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7093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FB19CF1B-CE40-4F9A-B066-02E2B81088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89691" l="0" r="89623">
                        <a14:foregroundMark x1="7547" y1="59278" x2="7547" y2="59278"/>
                        <a14:foregroundMark x1="1887" y1="54639" x2="16509" y2="52577"/>
                        <a14:foregroundMark x1="15094" y1="49485" x2="36321" y2="42268"/>
                        <a14:foregroundMark x1="40566" y1="32990" x2="58491" y2="14948"/>
                        <a14:foregroundMark x1="63208" y1="8247" x2="65566" y2="515"/>
                        <a14:foregroundMark x1="6132" y1="67010" x2="0" y2="72165"/>
                        <a14:foregroundMark x1="2358" y1="77320" x2="17453" y2="76804"/>
                        <a14:foregroundMark x1="33962" y1="68041" x2="58962" y2="45876"/>
                        <a14:foregroundMark x1="59906" y1="44330" x2="74528" y2="24227"/>
                        <a14:foregroundMark x1="71698" y1="26289" x2="84434" y2="17526"/>
                        <a14:foregroundMark x1="81604" y1="6701" x2="68396" y2="37113"/>
                        <a14:foregroundMark x1="72642" y1="31443" x2="79717" y2="21649"/>
                        <a14:foregroundMark x1="74057" y1="28866" x2="65566" y2="44330"/>
                        <a14:foregroundMark x1="51415" y1="15979" x2="72170" y2="515"/>
                        <a14:foregroundMark x1="51887" y1="2062" x2="73113" y2="1546"/>
                        <a14:foregroundMark x1="53302" y1="4124" x2="30189" y2="6186"/>
                        <a14:foregroundMark x1="54245" y1="14433" x2="32075" y2="25773"/>
                        <a14:foregroundMark x1="40094" y1="23711" x2="5189" y2="44845"/>
                        <a14:foregroundMark x1="5189" y1="44845" x2="5189" y2="44845"/>
                        <a14:foregroundMark x1="4717" y1="45876" x2="943" y2="54639"/>
                        <a14:foregroundMark x1="85377" y1="8247" x2="86321" y2="2062"/>
                        <a14:foregroundMark x1="85377" y1="6186" x2="83019" y2="17526"/>
                        <a14:foregroundMark x1="66038" y1="41753" x2="59906" y2="50000"/>
                        <a14:foregroundMark x1="58962" y1="50515" x2="50472" y2="59278"/>
                        <a14:foregroundMark x1="59602" y1="52773" x2="41509" y2="64433"/>
                        <a14:foregroundMark x1="49528" y1="61340" x2="34434" y2="72165"/>
                        <a14:foregroundMark x1="34434" y1="72165" x2="32075" y2="72680"/>
                        <a14:foregroundMark x1="31604" y1="71134" x2="16038" y2="80928"/>
                        <a14:foregroundMark x1="16038" y1="80928" x2="15094" y2="81443"/>
                        <a14:foregroundMark x1="27358" y1="73711" x2="3302" y2="81959"/>
                        <a14:foregroundMark x1="9434" y1="81443" x2="943" y2="82474"/>
                        <a14:foregroundMark x1="8019" y1="78351" x2="0" y2="81959"/>
                        <a14:foregroundMark x1="22170" y1="77320" x2="34906" y2="72680"/>
                        <a14:foregroundMark x1="67086" y1="43309" x2="84906" y2="19588"/>
                        <a14:foregroundMark x1="58962" y1="54124" x2="59167" y2="53851"/>
                        <a14:foregroundMark x1="58019" y1="54639" x2="45283" y2="70103"/>
                        <a14:foregroundMark x1="45283" y1="70103" x2="45283" y2="70619"/>
                        <a14:backgroundMark x1="58019" y1="56701" x2="66981" y2="4845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2947915" cy="256842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FBDD576D-79E7-4028-B35D-84C6FDEBFE72}"/>
              </a:ext>
            </a:extLst>
          </p:cNvPr>
          <p:cNvGrpSpPr/>
          <p:nvPr/>
        </p:nvGrpSpPr>
        <p:grpSpPr>
          <a:xfrm>
            <a:off x="1473957" y="960404"/>
            <a:ext cx="9993595" cy="4937192"/>
            <a:chOff x="178805" y="500721"/>
            <a:chExt cx="9993595" cy="493719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1412183-E075-40A0-AAB5-F2999AC11D6F}"/>
                </a:ext>
              </a:extLst>
            </p:cNvPr>
            <p:cNvGrpSpPr/>
            <p:nvPr/>
          </p:nvGrpSpPr>
          <p:grpSpPr>
            <a:xfrm>
              <a:off x="178805" y="500721"/>
              <a:ext cx="3817467" cy="1354217"/>
              <a:chOff x="1506096" y="1629304"/>
              <a:chExt cx="3817467" cy="1354217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3272135" y="2306412"/>
                <a:ext cx="2051428" cy="449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/>
                  <a:t>Objectives</a:t>
                </a:r>
                <a:endPara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65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1506096" y="1629304"/>
                <a:ext cx="2153518" cy="13542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GB" sz="8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890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01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78A6DB5-AE2E-4338-B67C-DEECCEFB1EB8}"/>
                </a:ext>
              </a:extLst>
            </p:cNvPr>
            <p:cNvGrpSpPr/>
            <p:nvPr/>
          </p:nvGrpSpPr>
          <p:grpSpPr>
            <a:xfrm>
              <a:off x="6149790" y="4083696"/>
              <a:ext cx="4022610" cy="1354217"/>
              <a:chOff x="7945198" y="2806234"/>
              <a:chExt cx="4022610" cy="1354217"/>
            </a:xfrm>
          </p:grpSpPr>
          <p:sp>
            <p:nvSpPr>
              <p:cNvPr id="55" name="TextBox 54"/>
              <p:cNvSpPr txBox="1"/>
              <p:nvPr/>
            </p:nvSpPr>
            <p:spPr>
              <a:xfrm>
                <a:off x="9711237" y="3417974"/>
                <a:ext cx="2256571" cy="449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2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</a:t>
                </a:r>
                <a:r>
                  <a:rPr kumimoji="0" lang="en-US" sz="2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sults</a:t>
                </a:r>
                <a:endParaRPr kumimoji="0" lang="en-GB" sz="2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7945198" y="2806234"/>
                <a:ext cx="2153518" cy="13542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GB" sz="8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65A">
                        <a:lumMod val="75000"/>
                      </a:srgb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04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1D5515F-0AE3-49E3-9F74-8789E4511AA9}"/>
                </a:ext>
              </a:extLst>
            </p:cNvPr>
            <p:cNvGrpSpPr/>
            <p:nvPr/>
          </p:nvGrpSpPr>
          <p:grpSpPr>
            <a:xfrm>
              <a:off x="2332323" y="1656303"/>
              <a:ext cx="3817467" cy="1354217"/>
              <a:chOff x="1506096" y="2896809"/>
              <a:chExt cx="3817467" cy="1354217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1506096" y="2896809"/>
                <a:ext cx="2153518" cy="13542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GB" sz="8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B02A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02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3272135" y="3549622"/>
                <a:ext cx="2051428" cy="449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2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</a:t>
                </a:r>
                <a:r>
                  <a:rPr lang="en-US" sz="2800" dirty="0">
                    <a:latin typeface="Calibri"/>
                  </a:rPr>
                  <a:t>ata</a:t>
                </a:r>
                <a:endParaRPr kumimoji="0" lang="en-GB" sz="2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D1AAE6B-21AB-4730-91FF-F262E2769FB2}"/>
                </a:ext>
              </a:extLst>
            </p:cNvPr>
            <p:cNvGrpSpPr/>
            <p:nvPr/>
          </p:nvGrpSpPr>
          <p:grpSpPr>
            <a:xfrm>
              <a:off x="4047317" y="2930633"/>
              <a:ext cx="3868512" cy="1354217"/>
              <a:chOff x="-542587" y="3218845"/>
              <a:chExt cx="3868512" cy="1354217"/>
            </a:xfrm>
          </p:grpSpPr>
          <p:sp>
            <p:nvSpPr>
              <p:cNvPr id="58" name="TextBox 57"/>
              <p:cNvSpPr txBox="1"/>
              <p:nvPr/>
            </p:nvSpPr>
            <p:spPr>
              <a:xfrm>
                <a:off x="-542587" y="3218845"/>
                <a:ext cx="2153518" cy="13542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GB" sz="8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6BC2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03</a:t>
                </a: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1274497" y="3844577"/>
                <a:ext cx="2051428" cy="476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/>
                  <a:t>Methods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6F2312-AC9E-4858-81D7-8ED1DEAD0815}"/>
              </a:ext>
            </a:extLst>
          </p:cNvPr>
          <p:cNvGrpSpPr/>
          <p:nvPr/>
        </p:nvGrpSpPr>
        <p:grpSpPr>
          <a:xfrm>
            <a:off x="178805" y="6329307"/>
            <a:ext cx="11893452" cy="392168"/>
            <a:chOff x="178805" y="6329307"/>
            <a:chExt cx="11893452" cy="392168"/>
          </a:xfrm>
        </p:grpSpPr>
        <p:sp>
          <p:nvSpPr>
            <p:cNvPr id="21" name="Footer Placeholder 4">
              <a:extLst>
                <a:ext uri="{FF2B5EF4-FFF2-40B4-BE49-F238E27FC236}">
                  <a16:creationId xmlns:a16="http://schemas.microsoft.com/office/drawing/2014/main" id="{AB5582D4-FE81-4F25-9559-314BBE198C16}"/>
                </a:ext>
              </a:extLst>
            </p:cNvPr>
            <p:cNvSpPr txBox="1">
              <a:spLocks/>
            </p:cNvSpPr>
            <p:nvPr/>
          </p:nvSpPr>
          <p:spPr>
            <a:xfrm>
              <a:off x="178805" y="6356350"/>
              <a:ext cx="11893452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tint val="7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witter Customer Complaints, Sentiment Analysi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Picture 21" descr="A picture containing text, clipart, vector graphics&#10;&#10;Description automatically generated">
              <a:extLst>
                <a:ext uri="{FF2B5EF4-FFF2-40B4-BE49-F238E27FC236}">
                  <a16:creationId xmlns:a16="http://schemas.microsoft.com/office/drawing/2014/main" id="{17AD7F4E-F9A9-4BA8-B54C-323518866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694" b="89796" l="2000" r="97778">
                          <a14:foregroundMark x1="6222" y1="15306" x2="6222" y2="15306"/>
                          <a14:foregroundMark x1="22667" y1="39286" x2="22667" y2="39286"/>
                          <a14:foregroundMark x1="33889" y1="32143" x2="33889" y2="32143"/>
                          <a14:foregroundMark x1="56333" y1="46429" x2="56333" y2="46429"/>
                          <a14:foregroundMark x1="54333" y1="18367" x2="54333" y2="18367"/>
                          <a14:foregroundMark x1="62556" y1="30102" x2="62556" y2="30102"/>
                          <a14:foregroundMark x1="74667" y1="39796" x2="74667" y2="39796"/>
                          <a14:foregroundMark x1="81222" y1="47959" x2="81222" y2="47959"/>
                          <a14:foregroundMark x1="94000" y1="77041" x2="94000" y2="77041"/>
                          <a14:foregroundMark x1="97778" y1="79592" x2="97778" y2="79592"/>
                          <a14:foregroundMark x1="2000" y1="34694" x2="2000" y2="34694"/>
                          <a14:foregroundMark x1="40667" y1="59184" x2="40667" y2="5918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805" y="6329307"/>
              <a:ext cx="1472574" cy="320694"/>
            </a:xfrm>
            <a:custGeom>
              <a:avLst/>
              <a:gdLst/>
              <a:ahLst/>
              <a:cxnLst/>
              <a:rect l="l" t="t" r="r" b="b"/>
              <a:pathLst>
                <a:path w="4141760" h="4377846">
                  <a:moveTo>
                    <a:pt x="0" y="0"/>
                  </a:moveTo>
                  <a:lnTo>
                    <a:pt x="4141760" y="0"/>
                  </a:lnTo>
                  <a:lnTo>
                    <a:pt x="4141760" y="4377846"/>
                  </a:lnTo>
                  <a:lnTo>
                    <a:pt x="0" y="437784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76736471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5A292AEA-2528-46C0-B426-95822B614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8B7B198-E4DF-43CD-AD8C-1998843237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BE67753-EA0E-4819-8D22-0B6600CF7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96934" y="3984"/>
            <a:ext cx="9376632" cy="6858000"/>
          </a:xfrm>
          <a:custGeom>
            <a:avLst/>
            <a:gdLst>
              <a:gd name="connsiteX0" fmla="*/ 1691615 w 9376632"/>
              <a:gd name="connsiteY0" fmla="*/ 0 h 6858000"/>
              <a:gd name="connsiteX1" fmla="*/ 7685017 w 9376632"/>
              <a:gd name="connsiteY1" fmla="*/ 0 h 6858000"/>
              <a:gd name="connsiteX2" fmla="*/ 7840634 w 9376632"/>
              <a:gd name="connsiteY2" fmla="*/ 134799 h 6858000"/>
              <a:gd name="connsiteX3" fmla="*/ 9376632 w 9376632"/>
              <a:gd name="connsiteY3" fmla="*/ 3605175 h 6858000"/>
              <a:gd name="connsiteX4" fmla="*/ 8158692 w 9376632"/>
              <a:gd name="connsiteY4" fmla="*/ 6757493 h 6858000"/>
              <a:gd name="connsiteX5" fmla="*/ 8062868 w 9376632"/>
              <a:gd name="connsiteY5" fmla="*/ 6858000 h 6858000"/>
              <a:gd name="connsiteX6" fmla="*/ 1313765 w 9376632"/>
              <a:gd name="connsiteY6" fmla="*/ 6858000 h 6858000"/>
              <a:gd name="connsiteX7" fmla="*/ 1217940 w 9376632"/>
              <a:gd name="connsiteY7" fmla="*/ 6757493 h 6858000"/>
              <a:gd name="connsiteX8" fmla="*/ 0 w 9376632"/>
              <a:gd name="connsiteY8" fmla="*/ 3605175 h 6858000"/>
              <a:gd name="connsiteX9" fmla="*/ 1535999 w 9376632"/>
              <a:gd name="connsiteY9" fmla="*/ 1347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76632" h="6858000">
                <a:moveTo>
                  <a:pt x="1691615" y="0"/>
                </a:moveTo>
                <a:lnTo>
                  <a:pt x="7685017" y="0"/>
                </a:lnTo>
                <a:lnTo>
                  <a:pt x="7840634" y="134799"/>
                </a:lnTo>
                <a:cubicBezTo>
                  <a:pt x="8784230" y="992423"/>
                  <a:pt x="9376632" y="2229618"/>
                  <a:pt x="9376632" y="3605175"/>
                </a:cubicBezTo>
                <a:cubicBezTo>
                  <a:pt x="9376632" y="4818903"/>
                  <a:pt x="8915419" y="5924908"/>
                  <a:pt x="8158692" y="6757493"/>
                </a:cubicBezTo>
                <a:lnTo>
                  <a:pt x="8062868" y="6858000"/>
                </a:lnTo>
                <a:lnTo>
                  <a:pt x="1313765" y="6858000"/>
                </a:lnTo>
                <a:lnTo>
                  <a:pt x="1217940" y="6757493"/>
                </a:lnTo>
                <a:cubicBezTo>
                  <a:pt x="461213" y="5924908"/>
                  <a:pt x="0" y="4818903"/>
                  <a:pt x="0" y="3605175"/>
                </a:cubicBezTo>
                <a:cubicBezTo>
                  <a:pt x="0" y="2229618"/>
                  <a:pt x="592403" y="992423"/>
                  <a:pt x="1535999" y="134799"/>
                </a:cubicBezTo>
                <a:close/>
              </a:path>
            </a:pathLst>
          </a:cu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6D63AC-0421-45EC-B383-E79A61A78C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03402" y="3985"/>
            <a:ext cx="9772765" cy="6858000"/>
            <a:chOff x="1303402" y="36937"/>
            <a:chExt cx="9772765" cy="6858000"/>
          </a:xfrm>
          <a:solidFill>
            <a:schemeClr val="bg1">
              <a:alpha val="30000"/>
            </a:schemeClr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997A32E-7032-4107-9C8B-99DB59EDD5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6937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43BB27F-1470-42CA-91FF-D94BC691C8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6937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997B002-17FD-47B3-A06A-76802FE15C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6937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401EA35-9D2E-43B7-860F-EBB8A6C3E0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6937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8C44827-3D81-4FF9-B4A5-5650D1B20A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6937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613D97F-F6DF-4D32-AD91-209A80E7A2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6937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2B0ED5C-927D-4C5F-8F27-1B403820B9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6937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CF45AF0-6E31-447E-8ED2-2AC471C488ED}"/>
              </a:ext>
            </a:extLst>
          </p:cNvPr>
          <p:cNvSpPr txBox="1"/>
          <p:nvPr/>
        </p:nvSpPr>
        <p:spPr>
          <a:xfrm>
            <a:off x="3502731" y="1542402"/>
            <a:ext cx="5186842" cy="23879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Why?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7F87F1B-42BA-4AC7-A4E2-41544DDB2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-4155"/>
            <a:ext cx="2514948" cy="2174333"/>
            <a:chOff x="-305" y="-4155"/>
            <a:chExt cx="2514948" cy="2174333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8B53067-4E48-4E71-A6A9-A8CAABAFBF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6D1A0D3-4BB8-41D9-9CE7-2884C83F44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1E20F06-3B09-4B89-A36B-AB8BFBCCA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AE6C3D7-7D5B-4926-877D-45F117BB6B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67346A5-7569-4F15-AB5D-BE3DADF19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685727" y="4683666"/>
            <a:ext cx="2514948" cy="2174333"/>
            <a:chOff x="-305" y="-4155"/>
            <a:chExt cx="2514948" cy="2174333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1951533-A568-4765-AB1F-F71D9AFDEA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7214F52-4F3F-4C96-A62E-F1401D6C04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23146A1-291C-4FA0-AB5B-EB04D42398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2977932-2B03-4899-8306-5002CEE68E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A1864715-4466-46C7-992B-334A9E6EE114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70169D93-56F5-4002-9576-285051666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1112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53" name="Rectangle 10252">
            <a:extLst>
              <a:ext uri="{FF2B5EF4-FFF2-40B4-BE49-F238E27FC236}">
                <a16:creationId xmlns:a16="http://schemas.microsoft.com/office/drawing/2014/main" id="{1F4E5977-D272-4E11-A03A-860268F25C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55" name="Rectangle 10254">
            <a:extLst>
              <a:ext uri="{FF2B5EF4-FFF2-40B4-BE49-F238E27FC236}">
                <a16:creationId xmlns:a16="http://schemas.microsoft.com/office/drawing/2014/main" id="{A3CE3386-CA59-42A7-AEDE-0B76443C8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pic>
        <p:nvPicPr>
          <p:cNvPr id="10244" name="Picture 4" descr="Unhappy Customer icon PNG and SVG Vector Free Download">
            <a:extLst>
              <a:ext uri="{FF2B5EF4-FFF2-40B4-BE49-F238E27FC236}">
                <a16:creationId xmlns:a16="http://schemas.microsoft.com/office/drawing/2014/main" id="{0D609460-D0DC-479C-8442-5FAB7B753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7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4671" y="1241503"/>
            <a:ext cx="2766943" cy="1653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1D125067-EDD3-40AB-AA78-FAA5564A6C2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76" y="544133"/>
            <a:ext cx="2252055" cy="2269788"/>
          </a:xfrm>
          <a:prstGeom prst="rect">
            <a:avLst/>
          </a:prstGeom>
        </p:spPr>
      </p:pic>
      <p:pic>
        <p:nvPicPr>
          <p:cNvPr id="10246" name="Picture 6" descr="Happy Customer icon PNG and SVG Vector Free Download">
            <a:extLst>
              <a:ext uri="{FF2B5EF4-FFF2-40B4-BE49-F238E27FC236}">
                <a16:creationId xmlns:a16="http://schemas.microsoft.com/office/drawing/2014/main" id="{9CA65E23-0287-4479-8AF9-FE885E3C5A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6389" y="2952465"/>
            <a:ext cx="5032122" cy="2964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57" name="Group 10256">
            <a:extLst>
              <a:ext uri="{FF2B5EF4-FFF2-40B4-BE49-F238E27FC236}">
                <a16:creationId xmlns:a16="http://schemas.microsoft.com/office/drawing/2014/main" id="{586C32D2-94E1-4C20-9977-69D4D1F681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847360" y="4513360"/>
            <a:ext cx="2514948" cy="2174333"/>
            <a:chOff x="-305" y="-4155"/>
            <a:chExt cx="2514948" cy="2174333"/>
          </a:xfrm>
        </p:grpSpPr>
        <p:sp>
          <p:nvSpPr>
            <p:cNvPr id="10258" name="Freeform: Shape 10257">
              <a:extLst>
                <a:ext uri="{FF2B5EF4-FFF2-40B4-BE49-F238E27FC236}">
                  <a16:creationId xmlns:a16="http://schemas.microsoft.com/office/drawing/2014/main" id="{4EF1C65E-19AB-4AB5-AFAE-5BE4430B1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59" name="Freeform: Shape 10258">
              <a:extLst>
                <a:ext uri="{FF2B5EF4-FFF2-40B4-BE49-F238E27FC236}">
                  <a16:creationId xmlns:a16="http://schemas.microsoft.com/office/drawing/2014/main" id="{679DC337-4663-43ED-94FF-578FCC16AC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60" name="Freeform: Shape 10259">
              <a:extLst>
                <a:ext uri="{FF2B5EF4-FFF2-40B4-BE49-F238E27FC236}">
                  <a16:creationId xmlns:a16="http://schemas.microsoft.com/office/drawing/2014/main" id="{49D6286C-2480-4CBF-8601-1AEE4541BB3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10261" name="Freeform: Shape 10260">
              <a:extLst>
                <a:ext uri="{FF2B5EF4-FFF2-40B4-BE49-F238E27FC236}">
                  <a16:creationId xmlns:a16="http://schemas.microsoft.com/office/drawing/2014/main" id="{216D01AE-CAAB-4E02-BFFF-211B8032CCF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EC18AC4-D9D3-4FCC-B20F-1B3CD490FFB9}"/>
              </a:ext>
            </a:extLst>
          </p:cNvPr>
          <p:cNvGrpSpPr/>
          <p:nvPr/>
        </p:nvGrpSpPr>
        <p:grpSpPr>
          <a:xfrm>
            <a:off x="178805" y="6329307"/>
            <a:ext cx="11893452" cy="392168"/>
            <a:chOff x="178805" y="6329307"/>
            <a:chExt cx="11893452" cy="392168"/>
          </a:xfrm>
        </p:grpSpPr>
        <p:sp>
          <p:nvSpPr>
            <p:cNvPr id="74" name="Footer Placeholder 4">
              <a:extLst>
                <a:ext uri="{FF2B5EF4-FFF2-40B4-BE49-F238E27FC236}">
                  <a16:creationId xmlns:a16="http://schemas.microsoft.com/office/drawing/2014/main" id="{A5940090-88F7-4BF8-81EA-075772A0ADA9}"/>
                </a:ext>
              </a:extLst>
            </p:cNvPr>
            <p:cNvSpPr txBox="1">
              <a:spLocks/>
            </p:cNvSpPr>
            <p:nvPr/>
          </p:nvSpPr>
          <p:spPr>
            <a:xfrm>
              <a:off x="178805" y="6356350"/>
              <a:ext cx="11893452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tint val="7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witter Customer Complaints, Sentiment Analysis</a:t>
              </a:r>
            </a:p>
          </p:txBody>
        </p:sp>
        <p:pic>
          <p:nvPicPr>
            <p:cNvPr id="75" name="Picture 74" descr="A picture containing text, clipart, vector graphics&#10;&#10;Description automatically generated">
              <a:extLst>
                <a:ext uri="{FF2B5EF4-FFF2-40B4-BE49-F238E27FC236}">
                  <a16:creationId xmlns:a16="http://schemas.microsoft.com/office/drawing/2014/main" id="{A709C7D2-8BD2-4F6A-8676-C1BE1635D8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694" b="89796" l="2000" r="97778">
                          <a14:foregroundMark x1="6222" y1="15306" x2="6222" y2="15306"/>
                          <a14:foregroundMark x1="22667" y1="39286" x2="22667" y2="39286"/>
                          <a14:foregroundMark x1="33889" y1="32143" x2="33889" y2="32143"/>
                          <a14:foregroundMark x1="56333" y1="46429" x2="56333" y2="46429"/>
                          <a14:foregroundMark x1="54333" y1="18367" x2="54333" y2="18367"/>
                          <a14:foregroundMark x1="62556" y1="30102" x2="62556" y2="30102"/>
                          <a14:foregroundMark x1="74667" y1="39796" x2="74667" y2="39796"/>
                          <a14:foregroundMark x1="81222" y1="47959" x2="81222" y2="47959"/>
                          <a14:foregroundMark x1="94000" y1="77041" x2="94000" y2="77041"/>
                          <a14:foregroundMark x1="97778" y1="79592" x2="97778" y2="79592"/>
                          <a14:foregroundMark x1="2000" y1="34694" x2="2000" y2="34694"/>
                          <a14:foregroundMark x1="40667" y1="59184" x2="40667" y2="5918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805" y="6329307"/>
              <a:ext cx="1472574" cy="320694"/>
            </a:xfrm>
            <a:custGeom>
              <a:avLst/>
              <a:gdLst/>
              <a:ahLst/>
              <a:cxnLst/>
              <a:rect l="l" t="t" r="r" b="b"/>
              <a:pathLst>
                <a:path w="4141760" h="4377846">
                  <a:moveTo>
                    <a:pt x="0" y="0"/>
                  </a:moveTo>
                  <a:lnTo>
                    <a:pt x="4141760" y="0"/>
                  </a:lnTo>
                  <a:lnTo>
                    <a:pt x="4141760" y="4377846"/>
                  </a:lnTo>
                  <a:lnTo>
                    <a:pt x="0" y="4377846"/>
                  </a:lnTo>
                  <a:close/>
                </a:path>
              </a:pathLst>
            </a:cu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3AB571A-5EC0-4E17-9EC5-18C319D7582C}"/>
              </a:ext>
            </a:extLst>
          </p:cNvPr>
          <p:cNvGrpSpPr/>
          <p:nvPr/>
        </p:nvGrpSpPr>
        <p:grpSpPr>
          <a:xfrm>
            <a:off x="7110532" y="2143290"/>
            <a:ext cx="4535296" cy="2131431"/>
            <a:chOff x="7177207" y="1533690"/>
            <a:chExt cx="4535296" cy="2131431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680AD1C4-C2D2-4A8A-822B-1B8E7C5F5027}"/>
                </a:ext>
              </a:extLst>
            </p:cNvPr>
            <p:cNvSpPr txBox="1"/>
            <p:nvPr/>
          </p:nvSpPr>
          <p:spPr>
            <a:xfrm>
              <a:off x="7184595" y="1533690"/>
              <a:ext cx="4527908" cy="4492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/>
                <a:t>Top 5 Companies with complaints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3BEEBE75-7FDA-4383-A1AB-4670574E5365}"/>
                </a:ext>
              </a:extLst>
            </p:cNvPr>
            <p:cNvSpPr/>
            <p:nvPr/>
          </p:nvSpPr>
          <p:spPr>
            <a:xfrm flipV="1">
              <a:off x="7186863" y="1937250"/>
              <a:ext cx="4379495" cy="45719"/>
            </a:xfrm>
            <a:prstGeom prst="rightArrow">
              <a:avLst/>
            </a:prstGeom>
            <a:solidFill>
              <a:srgbClr val="86BC25"/>
            </a:solidFill>
            <a:ln>
              <a:solidFill>
                <a:srgbClr val="86BC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86BC25"/>
                </a:solidFill>
              </a:endParaRPr>
            </a:p>
          </p:txBody>
        </p:sp>
        <p:sp>
          <p:nvSpPr>
            <p:cNvPr id="79" name="Arrow: Right 78">
              <a:extLst>
                <a:ext uri="{FF2B5EF4-FFF2-40B4-BE49-F238E27FC236}">
                  <a16:creationId xmlns:a16="http://schemas.microsoft.com/office/drawing/2014/main" id="{42A0D77D-10B0-46F3-B368-5F8D27BF3C56}"/>
                </a:ext>
              </a:extLst>
            </p:cNvPr>
            <p:cNvSpPr/>
            <p:nvPr/>
          </p:nvSpPr>
          <p:spPr>
            <a:xfrm>
              <a:off x="7186863" y="2722897"/>
              <a:ext cx="3834063" cy="45719"/>
            </a:xfrm>
            <a:prstGeom prst="rightArrow">
              <a:avLst/>
            </a:prstGeom>
            <a:solidFill>
              <a:srgbClr val="43B02A"/>
            </a:solidFill>
            <a:ln>
              <a:solidFill>
                <a:srgbClr val="86BC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86BC25"/>
                </a:solidFill>
              </a:endParaRPr>
            </a:p>
          </p:txBody>
        </p:sp>
        <p:sp>
          <p:nvSpPr>
            <p:cNvPr id="80" name="Arrow: Right 79">
              <a:extLst>
                <a:ext uri="{FF2B5EF4-FFF2-40B4-BE49-F238E27FC236}">
                  <a16:creationId xmlns:a16="http://schemas.microsoft.com/office/drawing/2014/main" id="{7A38C746-AD16-4955-B941-A19BF97AFA0F}"/>
                </a:ext>
              </a:extLst>
            </p:cNvPr>
            <p:cNvSpPr/>
            <p:nvPr/>
          </p:nvSpPr>
          <p:spPr>
            <a:xfrm flipV="1">
              <a:off x="7184595" y="3619402"/>
              <a:ext cx="3208218" cy="45719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86BC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86BC25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0F9979A-47B7-4B12-84D3-BD36B12E65F5}"/>
                </a:ext>
              </a:extLst>
            </p:cNvPr>
            <p:cNvSpPr txBox="1"/>
            <p:nvPr/>
          </p:nvSpPr>
          <p:spPr>
            <a:xfrm>
              <a:off x="7184595" y="2360797"/>
              <a:ext cx="4527908" cy="3621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/>
                <a:t>Avg CS Response Time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AE6078D-CB41-4089-B92C-09A3DFC50140}"/>
                </a:ext>
              </a:extLst>
            </p:cNvPr>
            <p:cNvSpPr txBox="1"/>
            <p:nvPr/>
          </p:nvSpPr>
          <p:spPr>
            <a:xfrm>
              <a:off x="7177207" y="3187904"/>
              <a:ext cx="4527908" cy="4492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/>
                <a:t>Sentiment Analysis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98230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5C3DA77-6038-4FF0-982E-937C2CA9309B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3619213D-EF88-4D0F-B0DD-7739D11681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2848DE6-416C-420C-99E5-6936726ADE6B}"/>
              </a:ext>
            </a:extLst>
          </p:cNvPr>
          <p:cNvGrpSpPr/>
          <p:nvPr/>
        </p:nvGrpSpPr>
        <p:grpSpPr>
          <a:xfrm>
            <a:off x="754554" y="1490510"/>
            <a:ext cx="10682891" cy="3876979"/>
            <a:chOff x="915092" y="1685925"/>
            <a:chExt cx="11116575" cy="4181491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364AC66-79F2-46E3-B235-1647C337F94C}"/>
                </a:ext>
              </a:extLst>
            </p:cNvPr>
            <p:cNvGrpSpPr/>
            <p:nvPr/>
          </p:nvGrpSpPr>
          <p:grpSpPr>
            <a:xfrm>
              <a:off x="915092" y="1685925"/>
              <a:ext cx="9419533" cy="4173599"/>
              <a:chOff x="915092" y="998475"/>
              <a:chExt cx="11083191" cy="4861049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0836DA8-92BA-44E4-8148-D98677DE6FB8}"/>
                  </a:ext>
                </a:extLst>
              </p:cNvPr>
              <p:cNvGrpSpPr/>
              <p:nvPr/>
            </p:nvGrpSpPr>
            <p:grpSpPr>
              <a:xfrm>
                <a:off x="915092" y="998475"/>
                <a:ext cx="5418512" cy="4861049"/>
                <a:chOff x="3447559" y="1260540"/>
                <a:chExt cx="5418512" cy="4861049"/>
              </a:xfrm>
            </p:grpSpPr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99EC4308-CF69-4E4C-A7A7-BBE16DC73F8B}"/>
                    </a:ext>
                  </a:extLst>
                </p:cNvPr>
                <p:cNvSpPr/>
                <p:nvPr/>
              </p:nvSpPr>
              <p:spPr bwMode="gray">
                <a:xfrm>
                  <a:off x="3558717" y="2164158"/>
                  <a:ext cx="1480757" cy="3957431"/>
                </a:xfrm>
                <a:prstGeom prst="rect">
                  <a:avLst/>
                </a:prstGeom>
                <a:solidFill>
                  <a:srgbClr val="00A3E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C2CD865D-34E4-40DA-A1C9-5C55E1EE5210}"/>
                    </a:ext>
                  </a:extLst>
                </p:cNvPr>
                <p:cNvGrpSpPr/>
                <p:nvPr/>
              </p:nvGrpSpPr>
              <p:grpSpPr>
                <a:xfrm>
                  <a:off x="3447559" y="1260540"/>
                  <a:ext cx="1703073" cy="2727321"/>
                  <a:chOff x="1803653" y="1995975"/>
                  <a:chExt cx="1703073" cy="2727321"/>
                </a:xfrm>
              </p:grpSpPr>
              <p:sp>
                <p:nvSpPr>
                  <p:cNvPr id="31" name="Rectangle 30">
                    <a:extLst>
                      <a:ext uri="{FF2B5EF4-FFF2-40B4-BE49-F238E27FC236}">
                        <a16:creationId xmlns:a16="http://schemas.microsoft.com/office/drawing/2014/main" id="{0437A7FF-EBFC-4D57-9EBC-F61CF60F4C59}"/>
                      </a:ext>
                    </a:extLst>
                  </p:cNvPr>
                  <p:cNvSpPr/>
                  <p:nvPr/>
                </p:nvSpPr>
                <p:spPr>
                  <a:xfrm>
                    <a:off x="1907323" y="3714751"/>
                    <a:ext cx="958187" cy="34796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Tweet_id</a:t>
                    </a:r>
                  </a:p>
                </p:txBody>
              </p:sp>
              <p:sp>
                <p:nvSpPr>
                  <p:cNvPr id="32" name="Oval 31">
                    <a:extLst>
                      <a:ext uri="{FF2B5EF4-FFF2-40B4-BE49-F238E27FC236}">
                        <a16:creationId xmlns:a16="http://schemas.microsoft.com/office/drawing/2014/main" id="{27C79173-49A3-48F9-B7F6-E88D1C3446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007CB0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3" name="Oval 32">
                    <a:extLst>
                      <a:ext uri="{FF2B5EF4-FFF2-40B4-BE49-F238E27FC236}">
                        <a16:creationId xmlns:a16="http://schemas.microsoft.com/office/drawing/2014/main" id="{3DF19782-B506-4FE4-9F2A-40181415B3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5" name="Rectangle 34">
                    <a:extLst>
                      <a:ext uri="{FF2B5EF4-FFF2-40B4-BE49-F238E27FC236}">
                        <a16:creationId xmlns:a16="http://schemas.microsoft.com/office/drawing/2014/main" id="{0B6DF7ED-C3D2-49AC-A2A6-095C5CCCFA38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7" cy="541278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Tweet unique Identifier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32527DF4-6AAD-446A-9DC6-BC563FA5E2CE}"/>
                    </a:ext>
                  </a:extLst>
                </p:cNvPr>
                <p:cNvSpPr/>
                <p:nvPr/>
              </p:nvSpPr>
              <p:spPr bwMode="gray">
                <a:xfrm>
                  <a:off x="5416437" y="2164159"/>
                  <a:ext cx="1480758" cy="3957430"/>
                </a:xfrm>
                <a:prstGeom prst="rect">
                  <a:avLst/>
                </a:prstGeom>
                <a:solidFill>
                  <a:srgbClr val="00768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270AFB79-4C9D-4C80-8CBF-1BEDC9974651}"/>
                    </a:ext>
                  </a:extLst>
                </p:cNvPr>
                <p:cNvGrpSpPr/>
                <p:nvPr/>
              </p:nvGrpSpPr>
              <p:grpSpPr>
                <a:xfrm>
                  <a:off x="5305279" y="1260540"/>
                  <a:ext cx="1703073" cy="2727321"/>
                  <a:chOff x="1803653" y="1995975"/>
                  <a:chExt cx="1703073" cy="2727321"/>
                </a:xfrm>
              </p:grpSpPr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82DA7462-E544-44FA-8A6B-DC56B7B23840}"/>
                      </a:ext>
                    </a:extLst>
                  </p:cNvPr>
                  <p:cNvSpPr/>
                  <p:nvPr/>
                </p:nvSpPr>
                <p:spPr>
                  <a:xfrm>
                    <a:off x="1909432" y="3700942"/>
                    <a:ext cx="1020993" cy="34796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Author_id</a:t>
                    </a:r>
                  </a:p>
                </p:txBody>
              </p:sp>
              <p:sp>
                <p:nvSpPr>
                  <p:cNvPr id="28" name="Oval 27">
                    <a:extLst>
                      <a:ext uri="{FF2B5EF4-FFF2-40B4-BE49-F238E27FC236}">
                        <a16:creationId xmlns:a16="http://schemas.microsoft.com/office/drawing/2014/main" id="{A809F57A-3634-482D-B0E9-54A4E06C53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00ABAB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9" name="Oval 28">
                    <a:extLst>
                      <a:ext uri="{FF2B5EF4-FFF2-40B4-BE49-F238E27FC236}">
                        <a16:creationId xmlns:a16="http://schemas.microsoft.com/office/drawing/2014/main" id="{01E24AB8-A241-4E8D-94CD-1D3C46A56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F6D63759-9B7F-4FB7-BDC3-E04D71709DD1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7" cy="541278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Author unique Identifier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19C86853-6E4D-4D7F-9E61-C6BDDE674EC2}"/>
                    </a:ext>
                  </a:extLst>
                </p:cNvPr>
                <p:cNvSpPr/>
                <p:nvPr/>
              </p:nvSpPr>
              <p:spPr bwMode="gray">
                <a:xfrm>
                  <a:off x="7274156" y="2164158"/>
                  <a:ext cx="1480757" cy="3957431"/>
                </a:xfrm>
                <a:prstGeom prst="rect">
                  <a:avLst/>
                </a:prstGeom>
                <a:solidFill>
                  <a:srgbClr val="43B02A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BDEE054F-B166-4587-A233-18D6D942DE99}"/>
                    </a:ext>
                  </a:extLst>
                </p:cNvPr>
                <p:cNvGrpSpPr/>
                <p:nvPr/>
              </p:nvGrpSpPr>
              <p:grpSpPr>
                <a:xfrm>
                  <a:off x="7162998" y="1260540"/>
                  <a:ext cx="1703073" cy="2939966"/>
                  <a:chOff x="1803653" y="1995975"/>
                  <a:chExt cx="1703073" cy="2939966"/>
                </a:xfrm>
              </p:grpSpPr>
              <p:sp>
                <p:nvSpPr>
                  <p:cNvPr id="23" name="Rectangle 22">
                    <a:extLst>
                      <a:ext uri="{FF2B5EF4-FFF2-40B4-BE49-F238E27FC236}">
                        <a16:creationId xmlns:a16="http://schemas.microsoft.com/office/drawing/2014/main" id="{EFFC9612-4280-4A08-9303-3C4C44DC6196}"/>
                      </a:ext>
                    </a:extLst>
                  </p:cNvPr>
                  <p:cNvSpPr/>
                  <p:nvPr/>
                </p:nvSpPr>
                <p:spPr>
                  <a:xfrm>
                    <a:off x="1903842" y="3708835"/>
                    <a:ext cx="889492" cy="34796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Inbound</a:t>
                    </a:r>
                  </a:p>
                </p:txBody>
              </p:sp>
              <p:sp>
                <p:nvSpPr>
                  <p:cNvPr id="24" name="Oval 23">
                    <a:extLst>
                      <a:ext uri="{FF2B5EF4-FFF2-40B4-BE49-F238E27FC236}">
                        <a16:creationId xmlns:a16="http://schemas.microsoft.com/office/drawing/2014/main" id="{8554F890-E4F4-4656-8DBE-9344A05562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86BC25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5" name="Oval 24">
                    <a:extLst>
                      <a:ext uri="{FF2B5EF4-FFF2-40B4-BE49-F238E27FC236}">
                        <a16:creationId xmlns:a16="http://schemas.microsoft.com/office/drawing/2014/main" id="{634CD913-3452-47F0-8641-A3B8624A72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8E7A553F-FE3B-49DD-88FB-434D7B0098C6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7" cy="75392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If Tweet belongs to customer or Company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279D84A6-B886-4858-B853-06E25C5AD67B}"/>
                  </a:ext>
                </a:extLst>
              </p:cNvPr>
              <p:cNvGrpSpPr/>
              <p:nvPr/>
            </p:nvGrpSpPr>
            <p:grpSpPr>
              <a:xfrm>
                <a:off x="6579771" y="998475"/>
                <a:ext cx="5418512" cy="4861049"/>
                <a:chOff x="3447559" y="1260540"/>
                <a:chExt cx="5418512" cy="4861049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3CC1C67A-F0CD-4575-ABB3-FA40D66A5124}"/>
                    </a:ext>
                  </a:extLst>
                </p:cNvPr>
                <p:cNvSpPr/>
                <p:nvPr/>
              </p:nvSpPr>
              <p:spPr bwMode="gray">
                <a:xfrm>
                  <a:off x="3558717" y="2164158"/>
                  <a:ext cx="1480757" cy="3957431"/>
                </a:xfrm>
                <a:prstGeom prst="rect">
                  <a:avLst/>
                </a:prstGeom>
                <a:solidFill>
                  <a:srgbClr val="00A3E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41D995E4-77B0-4D5C-B988-D6A2D8C6338F}"/>
                    </a:ext>
                  </a:extLst>
                </p:cNvPr>
                <p:cNvSpPr/>
                <p:nvPr/>
              </p:nvSpPr>
              <p:spPr bwMode="gray">
                <a:xfrm>
                  <a:off x="5416437" y="2164159"/>
                  <a:ext cx="1480758" cy="3957430"/>
                </a:xfrm>
                <a:prstGeom prst="rect">
                  <a:avLst/>
                </a:prstGeom>
                <a:solidFill>
                  <a:srgbClr val="00768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60106414-E317-4442-9CA2-EE19F0A5F6A8}"/>
                    </a:ext>
                  </a:extLst>
                </p:cNvPr>
                <p:cNvSpPr/>
                <p:nvPr/>
              </p:nvSpPr>
              <p:spPr bwMode="gray">
                <a:xfrm>
                  <a:off x="7274156" y="2164158"/>
                  <a:ext cx="1480757" cy="3957431"/>
                </a:xfrm>
                <a:prstGeom prst="rect">
                  <a:avLst/>
                </a:prstGeom>
                <a:solidFill>
                  <a:srgbClr val="43B02A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0793C901-E1AD-4E43-98D4-8016406C848A}"/>
                    </a:ext>
                  </a:extLst>
                </p:cNvPr>
                <p:cNvGrpSpPr/>
                <p:nvPr/>
              </p:nvGrpSpPr>
              <p:grpSpPr>
                <a:xfrm>
                  <a:off x="3447559" y="1260540"/>
                  <a:ext cx="2725645" cy="2939966"/>
                  <a:chOff x="1803653" y="1995975"/>
                  <a:chExt cx="2725645" cy="2939966"/>
                </a:xfrm>
              </p:grpSpPr>
              <p:sp>
                <p:nvSpPr>
                  <p:cNvPr id="52" name="Oval 51">
                    <a:extLst>
                      <a:ext uri="{FF2B5EF4-FFF2-40B4-BE49-F238E27FC236}">
                        <a16:creationId xmlns:a16="http://schemas.microsoft.com/office/drawing/2014/main" id="{A53B75D6-4E25-4DBB-BB40-0B8F57F5E7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007CB0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3" name="Oval 52">
                    <a:extLst>
                      <a:ext uri="{FF2B5EF4-FFF2-40B4-BE49-F238E27FC236}">
                        <a16:creationId xmlns:a16="http://schemas.microsoft.com/office/drawing/2014/main" id="{A06C2687-A573-4FF7-92B7-CA285DDE59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5" name="Rectangle 54">
                    <a:extLst>
                      <a:ext uri="{FF2B5EF4-FFF2-40B4-BE49-F238E27FC236}">
                        <a16:creationId xmlns:a16="http://schemas.microsoft.com/office/drawing/2014/main" id="{C515D27D-5703-491E-BFEA-442B4700B739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8" cy="753923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Full Date and Time tweet was created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6FF24078-8915-4273-8CFD-192E885ACF2C}"/>
                      </a:ext>
                    </a:extLst>
                  </p:cNvPr>
                  <p:cNvSpPr/>
                  <p:nvPr/>
                </p:nvSpPr>
                <p:spPr>
                  <a:xfrm>
                    <a:off x="3814485" y="3708834"/>
                    <a:ext cx="714813" cy="347965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Tweet</a:t>
                    </a:r>
                  </a:p>
                </p:txBody>
              </p:sp>
            </p:grpSp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D1BCF5AC-3034-4E9D-864B-743C098A42C6}"/>
                    </a:ext>
                  </a:extLst>
                </p:cNvPr>
                <p:cNvGrpSpPr/>
                <p:nvPr/>
              </p:nvGrpSpPr>
              <p:grpSpPr>
                <a:xfrm>
                  <a:off x="5305279" y="1260540"/>
                  <a:ext cx="3443490" cy="3365257"/>
                  <a:chOff x="1803653" y="1995975"/>
                  <a:chExt cx="3443490" cy="3365257"/>
                </a:xfrm>
              </p:grpSpPr>
              <p:sp>
                <p:nvSpPr>
                  <p:cNvPr id="48" name="Oval 47">
                    <a:extLst>
                      <a:ext uri="{FF2B5EF4-FFF2-40B4-BE49-F238E27FC236}">
                        <a16:creationId xmlns:a16="http://schemas.microsoft.com/office/drawing/2014/main" id="{D2221387-BD64-41A0-9FD8-19708FFB8A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00ABAB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9" name="Oval 48">
                    <a:extLst>
                      <a:ext uri="{FF2B5EF4-FFF2-40B4-BE49-F238E27FC236}">
                        <a16:creationId xmlns:a16="http://schemas.microsoft.com/office/drawing/2014/main" id="{21119AE1-9595-4B00-9B59-8504A5D668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94B21333-2A87-42E8-B52B-870BBB913A0D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7" cy="117921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Complaint from customer or response from either customer or company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F723CB60-3A6D-4E41-9FEF-EF65AA7FB9DD}"/>
                      </a:ext>
                    </a:extLst>
                  </p:cNvPr>
                  <p:cNvSpPr/>
                  <p:nvPr/>
                </p:nvSpPr>
                <p:spPr>
                  <a:xfrm>
                    <a:off x="3731553" y="3701081"/>
                    <a:ext cx="1515590" cy="309301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</a:rPr>
                      <a:t>Response_tweet_id</a:t>
                    </a:r>
                  </a:p>
                </p:txBody>
              </p:sp>
            </p:grpSp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01020EBF-65C9-4597-90E6-13F1E78B1EED}"/>
                    </a:ext>
                  </a:extLst>
                </p:cNvPr>
                <p:cNvGrpSpPr/>
                <p:nvPr/>
              </p:nvGrpSpPr>
              <p:grpSpPr>
                <a:xfrm>
                  <a:off x="7162998" y="1260540"/>
                  <a:ext cx="1703073" cy="3152611"/>
                  <a:chOff x="1803653" y="1995975"/>
                  <a:chExt cx="1703073" cy="3152611"/>
                </a:xfrm>
              </p:grpSpPr>
              <p:sp>
                <p:nvSpPr>
                  <p:cNvPr id="44" name="Oval 43">
                    <a:extLst>
                      <a:ext uri="{FF2B5EF4-FFF2-40B4-BE49-F238E27FC236}">
                        <a16:creationId xmlns:a16="http://schemas.microsoft.com/office/drawing/2014/main" id="{6C2C2763-C9C4-4A2B-94F3-5D2EF240D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803653" y="1995975"/>
                    <a:ext cx="1703073" cy="1699552"/>
                  </a:xfrm>
                  <a:prstGeom prst="ellipse">
                    <a:avLst/>
                  </a:prstGeom>
                  <a:solidFill>
                    <a:srgbClr val="86BC25"/>
                  </a:solidFill>
                  <a:ln w="19050" algn="ctr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5" name="Oval 44">
                    <a:extLst>
                      <a:ext uri="{FF2B5EF4-FFF2-40B4-BE49-F238E27FC236}">
                        <a16:creationId xmlns:a16="http://schemas.microsoft.com/office/drawing/2014/main" id="{41BEE791-D37A-4007-9BBA-3E7651B02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997259" y="2189181"/>
                    <a:ext cx="1315860" cy="1313139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E3CE21CF-52BB-4466-97AB-4E4334044D20}"/>
                      </a:ext>
                    </a:extLst>
                  </p:cNvPr>
                  <p:cNvSpPr/>
                  <p:nvPr/>
                </p:nvSpPr>
                <p:spPr>
                  <a:xfrm>
                    <a:off x="1931198" y="4182018"/>
                    <a:ext cx="1480757" cy="966568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s-MX" sz="1100" kern="0" dirty="0">
                        <a:solidFill>
                          <a:prstClr val="white"/>
                        </a:solidFill>
                      </a:rPr>
                      <a:t>H</a:t>
                    </a:r>
                    <a:r>
                      <a:rPr lang="en-US" sz="1100" kern="0" dirty="0">
                        <a:solidFill>
                          <a:prstClr val="white"/>
                        </a:solidFill>
                      </a:rPr>
                      <a:t>elps find the id of the tweet that the company answers</a:t>
                    </a:r>
                    <a:endPara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47E80A9-782E-4B50-B978-3DFA7DE1134F}"/>
                </a:ext>
              </a:extLst>
            </p:cNvPr>
            <p:cNvSpPr/>
            <p:nvPr/>
          </p:nvSpPr>
          <p:spPr bwMode="gray">
            <a:xfrm>
              <a:off x="10678708" y="2469645"/>
              <a:ext cx="1258486" cy="3397771"/>
            </a:xfrm>
            <a:prstGeom prst="rect">
              <a:avLst/>
            </a:prstGeom>
            <a:solidFill>
              <a:srgbClr val="00A3E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392390D-846A-4A28-9199-F26B71AB86A8}"/>
                </a:ext>
              </a:extLst>
            </p:cNvPr>
            <p:cNvSpPr/>
            <p:nvPr/>
          </p:nvSpPr>
          <p:spPr bwMode="gray">
            <a:xfrm>
              <a:off x="10584236" y="1693817"/>
              <a:ext cx="1447431" cy="1459201"/>
            </a:xfrm>
            <a:prstGeom prst="ellipse">
              <a:avLst/>
            </a:prstGeom>
            <a:solidFill>
              <a:srgbClr val="007CB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976AF78F-5533-4680-9DC1-96A339D79DA5}"/>
                </a:ext>
              </a:extLst>
            </p:cNvPr>
            <p:cNvSpPr/>
            <p:nvPr/>
          </p:nvSpPr>
          <p:spPr bwMode="gray">
            <a:xfrm>
              <a:off x="10748780" y="1873366"/>
              <a:ext cx="1118341" cy="1127435"/>
            </a:xfrm>
            <a:prstGeom prst="ellipse">
              <a:avLst/>
            </a:prstGeom>
            <a:solidFill>
              <a:sysClr val="window" lastClr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82F6BB3F-C314-449D-9864-B2AF1670BE35}"/>
              </a:ext>
            </a:extLst>
          </p:cNvPr>
          <p:cNvSpPr/>
          <p:nvPr/>
        </p:nvSpPr>
        <p:spPr>
          <a:xfrm>
            <a:off x="10125472" y="2900214"/>
            <a:ext cx="125169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n_Response_tweet_id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6FA8894-9624-40F3-BB1C-F61DC24CF0D0}"/>
              </a:ext>
            </a:extLst>
          </p:cNvPr>
          <p:cNvSpPr/>
          <p:nvPr/>
        </p:nvSpPr>
        <p:spPr>
          <a:xfrm>
            <a:off x="5492247" y="2854040"/>
            <a:ext cx="8915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reated_a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5C7826A-ED43-4917-9F47-BC21193E3275}"/>
              </a:ext>
            </a:extLst>
          </p:cNvPr>
          <p:cNvSpPr/>
          <p:nvPr/>
        </p:nvSpPr>
        <p:spPr>
          <a:xfrm>
            <a:off x="10111229" y="3257595"/>
            <a:ext cx="120938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kern="0" dirty="0">
                <a:solidFill>
                  <a:prstClr val="white"/>
                </a:solidFill>
              </a:rPr>
              <a:t>H</a:t>
            </a:r>
            <a:r>
              <a:rPr lang="en-US" sz="1100" kern="0" dirty="0">
                <a:solidFill>
                  <a:prstClr val="white"/>
                </a:solidFill>
              </a:rPr>
              <a:t>elps find the id of the tweet that followed up after initial response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4098" name="Picture 2" descr="Id card png images | PNGEgg">
            <a:extLst>
              <a:ext uri="{FF2B5EF4-FFF2-40B4-BE49-F238E27FC236}">
                <a16:creationId xmlns:a16="http://schemas.microsoft.com/office/drawing/2014/main" id="{E37277FB-4C00-428F-A7FE-B730BC3DB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184" b="91667" l="3736" r="96552">
                        <a14:foregroundMark x1="3736" y1="35920" x2="50575" y2="49425"/>
                        <a14:foregroundMark x1="6609" y1="68966" x2="10057" y2="76437"/>
                        <a14:foregroundMark x1="10057" y1="76437" x2="21552" y2="84770"/>
                        <a14:foregroundMark x1="21552" y1="84770" x2="22989" y2="85057"/>
                        <a14:foregroundMark x1="31609" y1="61207" x2="31609" y2="61207"/>
                        <a14:foregroundMark x1="21839" y1="71552" x2="26724" y2="75287"/>
                        <a14:foregroundMark x1="30460" y1="60345" x2="33333" y2="63793"/>
                        <a14:foregroundMark x1="52299" y1="62931" x2="57184" y2="80747"/>
                        <a14:foregroundMark x1="91092" y1="39368" x2="96839" y2="69253"/>
                        <a14:foregroundMark x1="84770" y1="86207" x2="44828" y2="91667"/>
                        <a14:foregroundMark x1="44828" y1="91667" x2="43966" y2="91954"/>
                        <a14:foregroundMark x1="6322" y1="78161" x2="16092" y2="85057"/>
                        <a14:foregroundMark x1="16092" y1="85057" x2="33046" y2="87069"/>
                        <a14:foregroundMark x1="22701" y1="73276" x2="24425" y2="73563"/>
                        <a14:foregroundMark x1="22701" y1="72989" x2="26724" y2="73563"/>
                        <a14:foregroundMark x1="35632" y1="72701" x2="35057" y2="74138"/>
                        <a14:foregroundMark x1="47701" y1="8621" x2="49713" y2="7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226" y="1821319"/>
            <a:ext cx="613514" cy="61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Twitter logo on transparent background PNG - Similar PNG">
            <a:extLst>
              <a:ext uri="{FF2B5EF4-FFF2-40B4-BE49-F238E27FC236}">
                <a16:creationId xmlns:a16="http://schemas.microsoft.com/office/drawing/2014/main" id="{384D4B44-0742-46F0-A560-DF186075C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000" b="90667" l="8333" r="91000">
                        <a14:foregroundMark x1="8667" y1="67333" x2="10000" y2="58833"/>
                        <a14:foregroundMark x1="68167" y1="9333" x2="58167" y2="9333"/>
                        <a14:foregroundMark x1="90500" y1="26667" x2="91000" y2="33167"/>
                        <a14:foregroundMark x1="32167" y1="90833" x2="26000" y2="90667"/>
                        <a14:foregroundMark x1="38333" y1="9833" x2="36500" y2="9000"/>
                        <a14:foregroundMark x1="10000" y1="45333" x2="8333" y2="43167"/>
                        <a14:foregroundMark x1="8333" y1="66833" x2="8667" y2="7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922" y="1823393"/>
            <a:ext cx="653871" cy="653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Writer PNG Images With Transparent Background | Free Download On Lovepik">
            <a:extLst>
              <a:ext uri="{FF2B5EF4-FFF2-40B4-BE49-F238E27FC236}">
                <a16:creationId xmlns:a16="http://schemas.microsoft.com/office/drawing/2014/main" id="{28731389-9F00-42FA-9378-A585DDBDC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567" y="1703922"/>
            <a:ext cx="1602571" cy="87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218AE477-093B-4850-AF84-280935116167}"/>
              </a:ext>
            </a:extLst>
          </p:cNvPr>
          <p:cNvSpPr/>
          <p:nvPr/>
        </p:nvSpPr>
        <p:spPr>
          <a:xfrm>
            <a:off x="2564867" y="1682465"/>
            <a:ext cx="7377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</a:rPr>
              <a:t>@</a:t>
            </a:r>
          </a:p>
        </p:txBody>
      </p:sp>
      <p:pic>
        <p:nvPicPr>
          <p:cNvPr id="4106" name="Picture 10" descr="Calendar Time Icon, Calendar, holidays, text png thumbnail">
            <a:extLst>
              <a:ext uri="{FF2B5EF4-FFF2-40B4-BE49-F238E27FC236}">
                <a16:creationId xmlns:a16="http://schemas.microsoft.com/office/drawing/2014/main" id="{D3BE23BA-E611-428A-87CA-A91F62A123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437" b="96552" l="1437" r="96264">
                        <a14:foregroundMark x1="5747" y1="22414" x2="6609" y2="31609"/>
                        <a14:foregroundMark x1="4023" y1="42241" x2="1437" y2="55460"/>
                        <a14:foregroundMark x1="17816" y1="43678" x2="17816" y2="43678"/>
                        <a14:foregroundMark x1="36782" y1="44540" x2="38506" y2="42241"/>
                        <a14:foregroundMark x1="52874" y1="44828" x2="58046" y2="40230"/>
                        <a14:foregroundMark x1="32759" y1="40517" x2="39368" y2="45977"/>
                        <a14:foregroundMark x1="15517" y1="41092" x2="20690" y2="47414"/>
                        <a14:foregroundMark x1="52586" y1="40805" x2="58621" y2="47989"/>
                        <a14:foregroundMark x1="13218" y1="57471" x2="22701" y2="65805"/>
                        <a14:foregroundMark x1="34770" y1="58333" x2="41092" y2="65230"/>
                        <a14:foregroundMark x1="2011" y1="58046" x2="2299" y2="72989"/>
                        <a14:foregroundMark x1="12356" y1="78448" x2="27874" y2="77586"/>
                        <a14:foregroundMark x1="27874" y1="77586" x2="30747" y2="77874"/>
                        <a14:foregroundMark x1="13506" y1="26149" x2="36494" y2="24138"/>
                        <a14:foregroundMark x1="14368" y1="7471" x2="15230" y2="14368"/>
                        <a14:foregroundMark x1="65805" y1="7759" x2="66379" y2="15517"/>
                        <a14:foregroundMark x1="65230" y1="2874" x2="65230" y2="1724"/>
                        <a14:foregroundMark x1="67529" y1="54310" x2="61207" y2="56609"/>
                        <a14:foregroundMark x1="51724" y1="39943" x2="55747" y2="43678"/>
                        <a14:foregroundMark x1="51149" y1="49425" x2="57471" y2="42241"/>
                        <a14:foregroundMark x1="57471" y1="62069" x2="52874" y2="69828"/>
                        <a14:foregroundMark x1="53736" y1="80460" x2="60057" y2="89943"/>
                        <a14:foregroundMark x1="60057" y1="89943" x2="61207" y2="91379"/>
                        <a14:foregroundMark x1="68103" y1="95402" x2="78161" y2="96839"/>
                        <a14:foregroundMark x1="90805" y1="89368" x2="95977" y2="80172"/>
                        <a14:foregroundMark x1="94828" y1="70977" x2="91667" y2="63793"/>
                        <a14:foregroundMark x1="83046" y1="56609" x2="73563" y2="54023"/>
                        <a14:foregroundMark x1="83908" y1="55460" x2="94828" y2="68103"/>
                        <a14:foregroundMark x1="94828" y1="68103" x2="96264" y2="80172"/>
                        <a14:foregroundMark x1="71264" y1="67816" x2="75575" y2="78161"/>
                        <a14:foregroundMark x1="75575" y1="78161" x2="83908" y2="787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072" y="1861725"/>
            <a:ext cx="696228" cy="696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Response icon PNG and SVG Vector Free Download">
            <a:extLst>
              <a:ext uri="{FF2B5EF4-FFF2-40B4-BE49-F238E27FC236}">
                <a16:creationId xmlns:a16="http://schemas.microsoft.com/office/drawing/2014/main" id="{433B76A4-FFC5-4166-8726-42860555B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251" y="1920449"/>
            <a:ext cx="580846" cy="51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Response Icons - Free SVG &amp; PNG Response Images - Noun Project">
            <a:extLst>
              <a:ext uri="{FF2B5EF4-FFF2-40B4-BE49-F238E27FC236}">
                <a16:creationId xmlns:a16="http://schemas.microsoft.com/office/drawing/2014/main" id="{24E121FC-C8DA-4E80-98F0-77F6839C85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989" y="1855797"/>
            <a:ext cx="695678" cy="695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02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A19414A-5BBD-4702-98AF-C91002A4D65F}"/>
              </a:ext>
            </a:extLst>
          </p:cNvPr>
          <p:cNvGrpSpPr/>
          <p:nvPr/>
        </p:nvGrpSpPr>
        <p:grpSpPr>
          <a:xfrm>
            <a:off x="178805" y="6329307"/>
            <a:ext cx="11893452" cy="392168"/>
            <a:chOff x="178805" y="6329307"/>
            <a:chExt cx="11893452" cy="392168"/>
          </a:xfrm>
        </p:grpSpPr>
        <p:sp>
          <p:nvSpPr>
            <p:cNvPr id="14" name="Footer Placeholder 4">
              <a:extLst>
                <a:ext uri="{FF2B5EF4-FFF2-40B4-BE49-F238E27FC236}">
                  <a16:creationId xmlns:a16="http://schemas.microsoft.com/office/drawing/2014/main" id="{74F55BA9-713F-4799-BCF2-0EE41D28AC21}"/>
                </a:ext>
              </a:extLst>
            </p:cNvPr>
            <p:cNvSpPr txBox="1">
              <a:spLocks/>
            </p:cNvSpPr>
            <p:nvPr/>
          </p:nvSpPr>
          <p:spPr>
            <a:xfrm>
              <a:off x="178805" y="6356350"/>
              <a:ext cx="11893452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tint val="7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witter Customer Complaints, Sentiment Analysis</a:t>
              </a:r>
            </a:p>
          </p:txBody>
        </p:sp>
        <p:pic>
          <p:nvPicPr>
            <p:cNvPr id="15" name="Picture 14" descr="A picture containing text, clipart, vector graphics&#10;&#10;Description automatically generated">
              <a:extLst>
                <a:ext uri="{FF2B5EF4-FFF2-40B4-BE49-F238E27FC236}">
                  <a16:creationId xmlns:a16="http://schemas.microsoft.com/office/drawing/2014/main" id="{D0823B6F-234C-4CBC-B931-A9C8930FED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694" b="89796" l="2000" r="97778">
                          <a14:foregroundMark x1="6222" y1="15306" x2="6222" y2="15306"/>
                          <a14:foregroundMark x1="22667" y1="39286" x2="22667" y2="39286"/>
                          <a14:foregroundMark x1="33889" y1="32143" x2="33889" y2="32143"/>
                          <a14:foregroundMark x1="56333" y1="46429" x2="56333" y2="46429"/>
                          <a14:foregroundMark x1="54333" y1="18367" x2="54333" y2="18367"/>
                          <a14:foregroundMark x1="62556" y1="30102" x2="62556" y2="30102"/>
                          <a14:foregroundMark x1="74667" y1="39796" x2="74667" y2="39796"/>
                          <a14:foregroundMark x1="81222" y1="47959" x2="81222" y2="47959"/>
                          <a14:foregroundMark x1="94000" y1="77041" x2="94000" y2="77041"/>
                          <a14:foregroundMark x1="97778" y1="79592" x2="97778" y2="79592"/>
                          <a14:foregroundMark x1="2000" y1="34694" x2="2000" y2="34694"/>
                          <a14:foregroundMark x1="40667" y1="59184" x2="40667" y2="5918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805" y="6329307"/>
              <a:ext cx="1472574" cy="320694"/>
            </a:xfrm>
            <a:custGeom>
              <a:avLst/>
              <a:gdLst/>
              <a:ahLst/>
              <a:cxnLst/>
              <a:rect l="l" t="t" r="r" b="b"/>
              <a:pathLst>
                <a:path w="4141760" h="4377846">
                  <a:moveTo>
                    <a:pt x="0" y="0"/>
                  </a:moveTo>
                  <a:lnTo>
                    <a:pt x="4141760" y="0"/>
                  </a:lnTo>
                  <a:lnTo>
                    <a:pt x="4141760" y="4377846"/>
                  </a:lnTo>
                  <a:lnTo>
                    <a:pt x="0" y="4377846"/>
                  </a:lnTo>
                  <a:close/>
                </a:path>
              </a:pathLst>
            </a:custGeom>
          </p:spPr>
        </p:pic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CF577D43-44FB-4C98-8605-EAD9C8A3A5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5297186"/>
              </p:ext>
            </p:extLst>
          </p:nvPr>
        </p:nvGraphicFramePr>
        <p:xfrm>
          <a:off x="533401" y="2914477"/>
          <a:ext cx="10658474" cy="1794315"/>
        </p:xfrm>
        <a:graphic>
          <a:graphicData uri="http://schemas.openxmlformats.org/drawingml/2006/table">
            <a:tbl>
              <a:tblPr/>
              <a:tblGrid>
                <a:gridCol w="1866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2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35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543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s-MX" sz="1300" b="1" dirty="0">
                          <a:solidFill>
                            <a:schemeClr val="tx1"/>
                          </a:solidFill>
                          <a:latin typeface="+mn-lt"/>
                        </a:rPr>
                        <a:t>T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+mn-lt"/>
                        </a:rPr>
                        <a:t>op Companies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Author_i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Inboun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Tweet (Complaint)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+mn-lt"/>
                        </a:rPr>
                        <a:t>AVG Response Time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Author_i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Inboun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Created at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MX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R</a:t>
                      </a: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esponse_tweet_i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+mn-lt"/>
                        </a:rPr>
                        <a:t>Sentiment Change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Tweet_id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s-MX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Inbound</a:t>
                      </a:r>
                      <a:endParaRPr lang="en-US" sz="13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Tweet (Complaint)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MX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R</a:t>
                      </a: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esponse_tweet_id</a:t>
                      </a:r>
                      <a:endParaRPr lang="en-US" sz="13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E1754A18-01BC-4F11-8CDE-76420E56456B}"/>
              </a:ext>
            </a:extLst>
          </p:cNvPr>
          <p:cNvGrpSpPr/>
          <p:nvPr/>
        </p:nvGrpSpPr>
        <p:grpSpPr>
          <a:xfrm>
            <a:off x="2395931" y="2316620"/>
            <a:ext cx="7186219" cy="587828"/>
            <a:chOff x="1954696" y="1965706"/>
            <a:chExt cx="6819162" cy="548640"/>
          </a:xfrm>
        </p:grpSpPr>
        <p:sp>
          <p:nvSpPr>
            <p:cNvPr id="19" name="Pentagon 15">
              <a:extLst>
                <a:ext uri="{FF2B5EF4-FFF2-40B4-BE49-F238E27FC236}">
                  <a16:creationId xmlns:a16="http://schemas.microsoft.com/office/drawing/2014/main" id="{29EEB86D-149A-44C2-A2D4-5AEBF3E33874}"/>
                </a:ext>
              </a:extLst>
            </p:cNvPr>
            <p:cNvSpPr/>
            <p:nvPr/>
          </p:nvSpPr>
          <p:spPr>
            <a:xfrm>
              <a:off x="1954696" y="1965706"/>
              <a:ext cx="1828800" cy="548640"/>
            </a:xfrm>
            <a:prstGeom prst="homePlate">
              <a:avLst/>
            </a:prstGeom>
            <a:solidFill>
              <a:srgbClr val="86BC25"/>
            </a:solidFill>
            <a:ln w="6350" cap="flat" cmpd="sng" algn="ctr">
              <a:noFill/>
              <a:prstDash val="solid"/>
            </a:ln>
            <a:effectLst/>
          </p:spPr>
          <p:txBody>
            <a:bodyPr lIns="118533" tIns="118533" rIns="118533" bIns="118533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umn 1</a:t>
              </a:r>
            </a:p>
          </p:txBody>
        </p:sp>
        <p:sp>
          <p:nvSpPr>
            <p:cNvPr id="20" name="Chevron 17">
              <a:extLst>
                <a:ext uri="{FF2B5EF4-FFF2-40B4-BE49-F238E27FC236}">
                  <a16:creationId xmlns:a16="http://schemas.microsoft.com/office/drawing/2014/main" id="{C71F7C71-CDD5-4A07-BB13-660D7C06AEC4}"/>
                </a:ext>
              </a:extLst>
            </p:cNvPr>
            <p:cNvSpPr/>
            <p:nvPr/>
          </p:nvSpPr>
          <p:spPr>
            <a:xfrm>
              <a:off x="3618150" y="1965706"/>
              <a:ext cx="1828800" cy="548640"/>
            </a:xfrm>
            <a:prstGeom prst="chevron">
              <a:avLst/>
            </a:prstGeom>
            <a:solidFill>
              <a:sysClr val="windowText" lastClr="000000"/>
            </a:solidFill>
            <a:ln w="6350" cap="flat" cmpd="sng" algn="ctr">
              <a:noFill/>
              <a:prstDash val="solid"/>
            </a:ln>
            <a:effectLst/>
          </p:spPr>
          <p:txBody>
            <a:bodyPr lIns="118533" tIns="118533" rIns="118533" bIns="118533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umn 2</a:t>
              </a:r>
            </a:p>
          </p:txBody>
        </p:sp>
        <p:sp>
          <p:nvSpPr>
            <p:cNvPr id="21" name="Chevron 18">
              <a:extLst>
                <a:ext uri="{FF2B5EF4-FFF2-40B4-BE49-F238E27FC236}">
                  <a16:creationId xmlns:a16="http://schemas.microsoft.com/office/drawing/2014/main" id="{BF36BA87-D9F6-49F2-9469-DEC965E26523}"/>
                </a:ext>
              </a:extLst>
            </p:cNvPr>
            <p:cNvSpPr/>
            <p:nvPr/>
          </p:nvSpPr>
          <p:spPr>
            <a:xfrm>
              <a:off x="5281604" y="1965706"/>
              <a:ext cx="1828800" cy="548640"/>
            </a:xfrm>
            <a:prstGeom prst="chevron">
              <a:avLst/>
            </a:prstGeom>
            <a:solidFill>
              <a:sysClr val="windowText" lastClr="000000"/>
            </a:solidFill>
            <a:ln w="6350" cap="flat" cmpd="sng" algn="ctr">
              <a:noFill/>
              <a:prstDash val="solid"/>
            </a:ln>
            <a:effectLst/>
          </p:spPr>
          <p:txBody>
            <a:bodyPr lIns="118533" tIns="118533" rIns="118533" bIns="118533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umn 3</a:t>
              </a:r>
            </a:p>
          </p:txBody>
        </p:sp>
        <p:sp>
          <p:nvSpPr>
            <p:cNvPr id="22" name="Chevron 24">
              <a:extLst>
                <a:ext uri="{FF2B5EF4-FFF2-40B4-BE49-F238E27FC236}">
                  <a16:creationId xmlns:a16="http://schemas.microsoft.com/office/drawing/2014/main" id="{C5F43F89-8F72-4CC0-92F9-95152774CFB4}"/>
                </a:ext>
              </a:extLst>
            </p:cNvPr>
            <p:cNvSpPr/>
            <p:nvPr/>
          </p:nvSpPr>
          <p:spPr>
            <a:xfrm>
              <a:off x="6945058" y="1965706"/>
              <a:ext cx="1828800" cy="548640"/>
            </a:xfrm>
            <a:prstGeom prst="chevron">
              <a:avLst/>
            </a:prstGeom>
            <a:solidFill>
              <a:sysClr val="windowText" lastClr="000000"/>
            </a:solidFill>
            <a:ln w="6350" cap="flat" cmpd="sng" algn="ctr">
              <a:noFill/>
              <a:prstDash val="solid"/>
            </a:ln>
            <a:effectLst/>
          </p:spPr>
          <p:txBody>
            <a:bodyPr lIns="118533" tIns="118533" rIns="118533" bIns="118533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umn 4</a:t>
              </a:r>
            </a:p>
          </p:txBody>
        </p:sp>
      </p:grpSp>
      <p:sp>
        <p:nvSpPr>
          <p:cNvPr id="23" name="Chevron 24">
            <a:extLst>
              <a:ext uri="{FF2B5EF4-FFF2-40B4-BE49-F238E27FC236}">
                <a16:creationId xmlns:a16="http://schemas.microsoft.com/office/drawing/2014/main" id="{DD16AD9E-3E73-4630-8C00-294FBB3E09A0}"/>
              </a:ext>
            </a:extLst>
          </p:cNvPr>
          <p:cNvSpPr/>
          <p:nvPr/>
        </p:nvSpPr>
        <p:spPr>
          <a:xfrm>
            <a:off x="9407904" y="2316620"/>
            <a:ext cx="1927239" cy="587828"/>
          </a:xfrm>
          <a:prstGeom prst="chevron">
            <a:avLst/>
          </a:prstGeom>
          <a:solidFill>
            <a:sysClr val="windowText" lastClr="000000"/>
          </a:solidFill>
          <a:ln w="6350" cap="flat" cmpd="sng" algn="ctr">
            <a:noFill/>
            <a:prstDash val="solid"/>
          </a:ln>
          <a:effectLst/>
        </p:spPr>
        <p:txBody>
          <a:bodyPr lIns="118533" tIns="118533" rIns="118533" bIns="118533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umn 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978FBB1-4DC9-4B64-AB8A-1FEC1B4E8E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867080"/>
              </p:ext>
            </p:extLst>
          </p:nvPr>
        </p:nvGraphicFramePr>
        <p:xfrm>
          <a:off x="9407904" y="2913716"/>
          <a:ext cx="3543300" cy="1794315"/>
        </p:xfrm>
        <a:graphic>
          <a:graphicData uri="http://schemas.openxmlformats.org/drawingml/2006/table">
            <a:tbl>
              <a:tblPr/>
              <a:tblGrid>
                <a:gridCol w="3543300">
                  <a:extLst>
                    <a:ext uri="{9D8B030D-6E8A-4147-A177-3AD203B41FA5}">
                      <a16:colId xmlns:a16="http://schemas.microsoft.com/office/drawing/2014/main" val="2294264327"/>
                    </a:ext>
                  </a:extLst>
                </a:gridCol>
              </a:tblGrid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287450"/>
                  </a:ext>
                </a:extLst>
              </a:tr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MX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  <a:endParaRPr lang="en-US" sz="13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1856990"/>
                  </a:ext>
                </a:extLst>
              </a:tr>
              <a:tr h="598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MX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In_r</a:t>
                      </a:r>
                      <a:r>
                        <a:rPr lang="en-US" sz="1300" b="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esponse_tweet_id</a:t>
                      </a:r>
                      <a:endParaRPr lang="en-US" sz="13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73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853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74D0F62-37FD-4BF1-8B05-8F1255EB4522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00EF6B47-A35E-4715-871D-276F9DC4E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472E151-2727-4C34-B8B0-B0397272A01E}"/>
              </a:ext>
            </a:extLst>
          </p:cNvPr>
          <p:cNvGrpSpPr/>
          <p:nvPr/>
        </p:nvGrpSpPr>
        <p:grpSpPr>
          <a:xfrm>
            <a:off x="717787" y="1669356"/>
            <a:ext cx="10612341" cy="1206171"/>
            <a:chOff x="717787" y="1207800"/>
            <a:chExt cx="10612341" cy="1206171"/>
          </a:xfrm>
        </p:grpSpPr>
        <p:sp>
          <p:nvSpPr>
            <p:cNvPr id="89" name="フリーフォーム 17">
              <a:extLst>
                <a:ext uri="{FF2B5EF4-FFF2-40B4-BE49-F238E27FC236}">
                  <a16:creationId xmlns:a16="http://schemas.microsoft.com/office/drawing/2014/main" id="{64DB6518-1A61-4FF1-A91B-15418797B79A}"/>
                </a:ext>
              </a:extLst>
            </p:cNvPr>
            <p:cNvSpPr/>
            <p:nvPr/>
          </p:nvSpPr>
          <p:spPr bwMode="gray">
            <a:xfrm>
              <a:off x="862283" y="1207800"/>
              <a:ext cx="10467845" cy="1206171"/>
            </a:xfrm>
            <a:custGeom>
              <a:avLst/>
              <a:gdLst>
                <a:gd name="connsiteX0" fmla="*/ 504000 w 8748000"/>
                <a:gd name="connsiteY0" fmla="*/ 0 h 1008000"/>
                <a:gd name="connsiteX1" fmla="*/ 519058 w 8748000"/>
                <a:gd name="connsiteY1" fmla="*/ 1518 h 1008000"/>
                <a:gd name="connsiteX2" fmla="*/ 519058 w 8748000"/>
                <a:gd name="connsiteY2" fmla="*/ 0 h 1008000"/>
                <a:gd name="connsiteX3" fmla="*/ 8251258 w 8748000"/>
                <a:gd name="connsiteY3" fmla="*/ 0 h 1008000"/>
                <a:gd name="connsiteX4" fmla="*/ 8745019 w 8748000"/>
                <a:gd name="connsiteY4" fmla="*/ 402426 h 1008000"/>
                <a:gd name="connsiteX5" fmla="*/ 8748000 w 8748000"/>
                <a:gd name="connsiteY5" fmla="*/ 432000 h 1008000"/>
                <a:gd name="connsiteX6" fmla="*/ 1000742 w 8748000"/>
                <a:gd name="connsiteY6" fmla="*/ 432000 h 1008000"/>
                <a:gd name="connsiteX7" fmla="*/ 1008000 w 8748000"/>
                <a:gd name="connsiteY7" fmla="*/ 504000 h 1008000"/>
                <a:gd name="connsiteX8" fmla="*/ 504000 w 8748000"/>
                <a:gd name="connsiteY8" fmla="*/ 1008000 h 1008000"/>
                <a:gd name="connsiteX9" fmla="*/ 0 w 8748000"/>
                <a:gd name="connsiteY9" fmla="*/ 504000 h 1008000"/>
                <a:gd name="connsiteX10" fmla="*/ 504000 w 8748000"/>
                <a:gd name="connsiteY10" fmla="*/ 0 h 10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8000" h="1008000">
                  <a:moveTo>
                    <a:pt x="504000" y="0"/>
                  </a:moveTo>
                  <a:lnTo>
                    <a:pt x="519058" y="1518"/>
                  </a:lnTo>
                  <a:lnTo>
                    <a:pt x="519058" y="0"/>
                  </a:lnTo>
                  <a:lnTo>
                    <a:pt x="8251258" y="0"/>
                  </a:lnTo>
                  <a:cubicBezTo>
                    <a:pt x="8494816" y="0"/>
                    <a:pt x="8698022" y="172762"/>
                    <a:pt x="8745019" y="402426"/>
                  </a:cubicBezTo>
                  <a:lnTo>
                    <a:pt x="8748000" y="432000"/>
                  </a:lnTo>
                  <a:lnTo>
                    <a:pt x="1000742" y="432000"/>
                  </a:lnTo>
                  <a:lnTo>
                    <a:pt x="1008000" y="504000"/>
                  </a:lnTo>
                  <a:cubicBezTo>
                    <a:pt x="1008000" y="782352"/>
                    <a:pt x="782352" y="1008000"/>
                    <a:pt x="504000" y="1008000"/>
                  </a:cubicBezTo>
                  <a:cubicBezTo>
                    <a:pt x="225648" y="1008000"/>
                    <a:pt x="0" y="782352"/>
                    <a:pt x="0" y="504000"/>
                  </a:cubicBezTo>
                  <a:cubicBezTo>
                    <a:pt x="0" y="225648"/>
                    <a:pt x="225648" y="0"/>
                    <a:pt x="504000" y="0"/>
                  </a:cubicBezTo>
                  <a:close/>
                </a:path>
              </a:pathLst>
            </a:custGeom>
            <a:solidFill>
              <a:srgbClr val="86BC25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marR="0" lvl="0" indent="-360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   NLP (Natural Language Processing)</a:t>
              </a:r>
              <a:endParaRPr kumimoji="1" lang="ja-JP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正方形/長方形 23">
              <a:extLst>
                <a:ext uri="{FF2B5EF4-FFF2-40B4-BE49-F238E27FC236}">
                  <a16:creationId xmlns:a16="http://schemas.microsoft.com/office/drawing/2014/main" id="{F2A8EE26-2BD3-4304-A6C2-A6351B0B8361}"/>
                </a:ext>
              </a:extLst>
            </p:cNvPr>
            <p:cNvSpPr/>
            <p:nvPr/>
          </p:nvSpPr>
          <p:spPr bwMode="gray">
            <a:xfrm>
              <a:off x="2283842" y="1724730"/>
              <a:ext cx="9046286" cy="68924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Will help the model understand each tweet and recognize certain patterns</a:t>
              </a:r>
              <a:endPara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9F017DE8-68B0-45A2-B9EE-1E06AC68C3DD}"/>
                </a:ext>
              </a:extLst>
            </p:cNvPr>
            <p:cNvSpPr/>
            <p:nvPr/>
          </p:nvSpPr>
          <p:spPr bwMode="gray">
            <a:xfrm>
              <a:off x="915092" y="1254533"/>
              <a:ext cx="1104207" cy="1088617"/>
            </a:xfrm>
            <a:prstGeom prst="ellipse">
              <a:avLst/>
            </a:prstGeom>
            <a:solidFill>
              <a:sysClr val="window" lastClr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5124" name="Picture 4" descr="Natural Language Processing png images | PNGEgg">
              <a:extLst>
                <a:ext uri="{FF2B5EF4-FFF2-40B4-BE49-F238E27FC236}">
                  <a16:creationId xmlns:a16="http://schemas.microsoft.com/office/drawing/2014/main" id="{9CFD7803-A56C-4115-81C5-CC3F4B64C0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>
                          <a14:foregroundMark x1="45222" y1="24200" x2="50333" y2="23600"/>
                          <a14:foregroundMark x1="42667" y1="77000" x2="45778" y2="798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787" y="1394717"/>
              <a:ext cx="1492582" cy="806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5B3885C-3414-41A1-8642-15CFDC7DEA36}"/>
              </a:ext>
            </a:extLst>
          </p:cNvPr>
          <p:cNvGrpSpPr/>
          <p:nvPr/>
        </p:nvGrpSpPr>
        <p:grpSpPr>
          <a:xfrm>
            <a:off x="861565" y="3783859"/>
            <a:ext cx="10472403" cy="1206171"/>
            <a:chOff x="861565" y="3783859"/>
            <a:chExt cx="10472403" cy="1206171"/>
          </a:xfrm>
        </p:grpSpPr>
        <p:sp>
          <p:nvSpPr>
            <p:cNvPr id="87" name="フリーフォーム 15">
              <a:extLst>
                <a:ext uri="{FF2B5EF4-FFF2-40B4-BE49-F238E27FC236}">
                  <a16:creationId xmlns:a16="http://schemas.microsoft.com/office/drawing/2014/main" id="{113F3F7B-0C03-4587-B523-B03F0695DED2}"/>
                </a:ext>
              </a:extLst>
            </p:cNvPr>
            <p:cNvSpPr/>
            <p:nvPr/>
          </p:nvSpPr>
          <p:spPr bwMode="gray">
            <a:xfrm>
              <a:off x="861565" y="3783859"/>
              <a:ext cx="10467845" cy="1206171"/>
            </a:xfrm>
            <a:custGeom>
              <a:avLst/>
              <a:gdLst>
                <a:gd name="connsiteX0" fmla="*/ 504000 w 8748000"/>
                <a:gd name="connsiteY0" fmla="*/ 0 h 1008000"/>
                <a:gd name="connsiteX1" fmla="*/ 519058 w 8748000"/>
                <a:gd name="connsiteY1" fmla="*/ 1518 h 1008000"/>
                <a:gd name="connsiteX2" fmla="*/ 519058 w 8748000"/>
                <a:gd name="connsiteY2" fmla="*/ 0 h 1008000"/>
                <a:gd name="connsiteX3" fmla="*/ 8251258 w 8748000"/>
                <a:gd name="connsiteY3" fmla="*/ 0 h 1008000"/>
                <a:gd name="connsiteX4" fmla="*/ 8745019 w 8748000"/>
                <a:gd name="connsiteY4" fmla="*/ 402426 h 1008000"/>
                <a:gd name="connsiteX5" fmla="*/ 8748000 w 8748000"/>
                <a:gd name="connsiteY5" fmla="*/ 432000 h 1008000"/>
                <a:gd name="connsiteX6" fmla="*/ 1000742 w 8748000"/>
                <a:gd name="connsiteY6" fmla="*/ 432000 h 1008000"/>
                <a:gd name="connsiteX7" fmla="*/ 1008000 w 8748000"/>
                <a:gd name="connsiteY7" fmla="*/ 504000 h 1008000"/>
                <a:gd name="connsiteX8" fmla="*/ 504000 w 8748000"/>
                <a:gd name="connsiteY8" fmla="*/ 1008000 h 1008000"/>
                <a:gd name="connsiteX9" fmla="*/ 0 w 8748000"/>
                <a:gd name="connsiteY9" fmla="*/ 504000 h 1008000"/>
                <a:gd name="connsiteX10" fmla="*/ 504000 w 8748000"/>
                <a:gd name="connsiteY10" fmla="*/ 0 h 10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8000" h="1008000">
                  <a:moveTo>
                    <a:pt x="504000" y="0"/>
                  </a:moveTo>
                  <a:lnTo>
                    <a:pt x="519058" y="1518"/>
                  </a:lnTo>
                  <a:lnTo>
                    <a:pt x="519058" y="0"/>
                  </a:lnTo>
                  <a:lnTo>
                    <a:pt x="8251258" y="0"/>
                  </a:lnTo>
                  <a:cubicBezTo>
                    <a:pt x="8494816" y="0"/>
                    <a:pt x="8698022" y="172762"/>
                    <a:pt x="8745019" y="402426"/>
                  </a:cubicBezTo>
                  <a:lnTo>
                    <a:pt x="8748000" y="432000"/>
                  </a:lnTo>
                  <a:lnTo>
                    <a:pt x="1000742" y="432000"/>
                  </a:lnTo>
                  <a:lnTo>
                    <a:pt x="1008000" y="504000"/>
                  </a:lnTo>
                  <a:cubicBezTo>
                    <a:pt x="1008000" y="782352"/>
                    <a:pt x="782352" y="1008000"/>
                    <a:pt x="504000" y="1008000"/>
                  </a:cubicBezTo>
                  <a:cubicBezTo>
                    <a:pt x="225648" y="1008000"/>
                    <a:pt x="0" y="782352"/>
                    <a:pt x="0" y="504000"/>
                  </a:cubicBezTo>
                  <a:cubicBezTo>
                    <a:pt x="0" y="225648"/>
                    <a:pt x="225648" y="0"/>
                    <a:pt x="504000" y="0"/>
                  </a:cubicBezTo>
                  <a:close/>
                </a:path>
              </a:pathLst>
            </a:custGeom>
            <a:solidFill>
              <a:srgbClr val="43B02A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marR="0" lvl="0" indent="-3600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  Machine Learning</a:t>
              </a:r>
              <a:endParaRPr kumimoji="1" lang="ja-JP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73BA03F9-411F-4302-9DF6-023578E0F783}"/>
                </a:ext>
              </a:extLst>
            </p:cNvPr>
            <p:cNvSpPr/>
            <p:nvPr/>
          </p:nvSpPr>
          <p:spPr bwMode="gray">
            <a:xfrm>
              <a:off x="916138" y="3848054"/>
              <a:ext cx="1103161" cy="1082587"/>
            </a:xfrm>
            <a:prstGeom prst="ellipse">
              <a:avLst/>
            </a:prstGeom>
            <a:solidFill>
              <a:sysClr val="window" lastClr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5132" name="Picture 12" descr="Machine learning - Free technology icons">
              <a:extLst>
                <a:ext uri="{FF2B5EF4-FFF2-40B4-BE49-F238E27FC236}">
                  <a16:creationId xmlns:a16="http://schemas.microsoft.com/office/drawing/2014/main" id="{C0F07DC1-142C-48F8-A7EF-89664F31B9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0483" y="4034971"/>
              <a:ext cx="707190" cy="707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8" name="正方形/長方形 23">
              <a:extLst>
                <a:ext uri="{FF2B5EF4-FFF2-40B4-BE49-F238E27FC236}">
                  <a16:creationId xmlns:a16="http://schemas.microsoft.com/office/drawing/2014/main" id="{7A212D3F-D1E8-4851-A30C-A31ACA36F932}"/>
                </a:ext>
              </a:extLst>
            </p:cNvPr>
            <p:cNvSpPr/>
            <p:nvPr/>
          </p:nvSpPr>
          <p:spPr bwMode="gray">
            <a:xfrm>
              <a:off x="2287682" y="4257568"/>
              <a:ext cx="9046286" cy="68924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s-MX" altLang="ja-JP" sz="1100" kern="0" dirty="0">
                  <a:solidFill>
                    <a:prstClr val="black"/>
                  </a:solidFill>
                </a:rPr>
                <a:t>M</a:t>
              </a:r>
              <a:r>
                <a:rPr kumimoji="1" lang="en-US" altLang="ja-JP" sz="1100" kern="0" dirty="0">
                  <a:solidFill>
                    <a:prstClr val="black"/>
                  </a:solidFill>
                </a:rPr>
                <a:t>achine learning will help us treat our information with algorithms in order to minimize flaws</a:t>
              </a:r>
              <a:endPara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5711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876B993-16E6-4C3C-9D02-1D9E524CF8B6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ED2613F9-1BDA-4565-93C2-092D4F511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BA600F9-CA34-42AC-AAA3-D3F313EC41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2210132"/>
              </p:ext>
            </p:extLst>
          </p:nvPr>
        </p:nvGraphicFramePr>
        <p:xfrm>
          <a:off x="6242493" y="1018657"/>
          <a:ext cx="4198679" cy="525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4E9BF84-C715-41EC-905B-61B588E0B5DF}"/>
              </a:ext>
            </a:extLst>
          </p:cNvPr>
          <p:cNvSpPr txBox="1">
            <a:spLocks/>
          </p:cNvSpPr>
          <p:nvPr/>
        </p:nvSpPr>
        <p:spPr>
          <a:xfrm>
            <a:off x="1169122" y="3301874"/>
            <a:ext cx="3185164" cy="38457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rgbClr val="43B02A"/>
                </a:solidFill>
              </a:rPr>
              <a:t>Top 5 companies with complaints</a:t>
            </a:r>
          </a:p>
          <a:p>
            <a:pPr marL="0" indent="0">
              <a:buNone/>
            </a:pPr>
            <a:endParaRPr lang="en-US" sz="1300" dirty="0">
              <a:solidFill>
                <a:srgbClr val="43B02A"/>
              </a:solidFill>
            </a:endParaRPr>
          </a:p>
          <a:p>
            <a:pPr marL="0" indent="0">
              <a:buNone/>
            </a:pPr>
            <a:endParaRPr lang="en-US" sz="1300" dirty="0"/>
          </a:p>
          <a:p>
            <a:endParaRPr lang="en-US" sz="13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7CBF375-D7B5-417B-845F-8CDC0FF8B33B}"/>
              </a:ext>
            </a:extLst>
          </p:cNvPr>
          <p:cNvSpPr/>
          <p:nvPr/>
        </p:nvSpPr>
        <p:spPr>
          <a:xfrm flipV="1">
            <a:off x="1174009" y="3647641"/>
            <a:ext cx="3710071" cy="45719"/>
          </a:xfrm>
          <a:prstGeom prst="rect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22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Rectangle 57">
            <a:extLst>
              <a:ext uri="{FF2B5EF4-FFF2-40B4-BE49-F238E27FC236}">
                <a16:creationId xmlns:a16="http://schemas.microsoft.com/office/drawing/2014/main" id="{6314D791-4D8A-4854-B8FC-6959656D0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076E76-3EB3-4269-8135-07CAB20E5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B3C7E5-50E1-4F9E-AEA3-A6D2190394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305" y="0"/>
            <a:ext cx="5163047" cy="3153018"/>
            <a:chOff x="6867015" y="-1"/>
            <a:chExt cx="5324985" cy="3251912"/>
          </a:xfrm>
          <a:solidFill>
            <a:schemeClr val="accent5">
              <a:alpha val="10000"/>
            </a:schemeClr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0233B5C-C5A9-48C0-8C07-21E6F6B360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0F3AF96-AAC1-41E3-9F66-0A6277845D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DF38A98-557F-4C23-935A-42806B67AA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CEB13D-EBFC-4288-B604-572C2F779A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988F9A4-0578-4C59-8B4A-346E02CF3A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9262397" y="3928396"/>
            <a:ext cx="3142400" cy="2716805"/>
            <a:chOff x="-305" y="-4155"/>
            <a:chExt cx="2514948" cy="2174333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F63F827B-FA00-442A-A09C-806F1FFA34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C876680-EE75-4791-842F-E23509221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B9819B2-70D4-4E0A-8D51-6B359B44CB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FA8033D-6A70-4FA5-8F37-7F8C117C98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876B993-16E6-4C3C-9D02-1D9E524CF8B6}"/>
              </a:ext>
            </a:extLst>
          </p:cNvPr>
          <p:cNvSpPr txBox="1">
            <a:spLocks/>
          </p:cNvSpPr>
          <p:nvPr/>
        </p:nvSpPr>
        <p:spPr>
          <a:xfrm>
            <a:off x="178805" y="6356350"/>
            <a:ext cx="118934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itter Customer Complaints, Sentiment Analys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ED2613F9-1BDA-4565-93C2-092D4F511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94" b="89796" l="2000" r="97778">
                        <a14:foregroundMark x1="6222" y1="15306" x2="6222" y2="15306"/>
                        <a14:foregroundMark x1="22667" y1="39286" x2="22667" y2="39286"/>
                        <a14:foregroundMark x1="33889" y1="32143" x2="33889" y2="32143"/>
                        <a14:foregroundMark x1="56333" y1="46429" x2="56333" y2="46429"/>
                        <a14:foregroundMark x1="54333" y1="18367" x2="54333" y2="18367"/>
                        <a14:foregroundMark x1="62556" y1="30102" x2="62556" y2="30102"/>
                        <a14:foregroundMark x1="74667" y1="39796" x2="74667" y2="39796"/>
                        <a14:foregroundMark x1="81222" y1="47959" x2="81222" y2="47959"/>
                        <a14:foregroundMark x1="94000" y1="77041" x2="94000" y2="77041"/>
                        <a14:foregroundMark x1="97778" y1="79592" x2="97778" y2="79592"/>
                        <a14:foregroundMark x1="2000" y1="34694" x2="2000" y2="34694"/>
                        <a14:foregroundMark x1="40667" y1="59184" x2="40667" y2="59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5" y="6329307"/>
            <a:ext cx="1472574" cy="320694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C9AA4D2-621E-42D3-8E4C-78AAA339D967}"/>
              </a:ext>
            </a:extLst>
          </p:cNvPr>
          <p:cNvSpPr/>
          <p:nvPr/>
        </p:nvSpPr>
        <p:spPr>
          <a:xfrm flipV="1">
            <a:off x="1127683" y="3848189"/>
            <a:ext cx="2891134" cy="45719"/>
          </a:xfrm>
          <a:prstGeom prst="rect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A03AA58-D279-4DF2-922B-BDCF9602C8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9051156"/>
              </p:ext>
            </p:extLst>
          </p:nvPr>
        </p:nvGraphicFramePr>
        <p:xfrm>
          <a:off x="5922712" y="1576509"/>
          <a:ext cx="5509622" cy="4052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957AB3AB-F579-48A3-82A4-9F61C6201B24}"/>
              </a:ext>
            </a:extLst>
          </p:cNvPr>
          <p:cNvSpPr txBox="1">
            <a:spLocks/>
          </p:cNvSpPr>
          <p:nvPr/>
        </p:nvSpPr>
        <p:spPr>
          <a:xfrm>
            <a:off x="1053119" y="3543690"/>
            <a:ext cx="2080642" cy="15814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rgbClr val="43B02A"/>
                </a:solidFill>
              </a:rPr>
              <a:t>Avg CS response time </a:t>
            </a:r>
          </a:p>
          <a:p>
            <a:pPr marL="0" indent="0">
              <a:buNone/>
            </a:pPr>
            <a:endParaRPr lang="en-US" sz="1300" dirty="0">
              <a:solidFill>
                <a:srgbClr val="43B02A"/>
              </a:solidFill>
            </a:endParaRPr>
          </a:p>
          <a:p>
            <a:pPr marL="0" indent="0">
              <a:buNone/>
            </a:pPr>
            <a:endParaRPr lang="en-US" sz="1300" dirty="0"/>
          </a:p>
          <a:p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562809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4BBAB1E8BBB141897F20D7ACA32DCE" ma:contentTypeVersion="6" ma:contentTypeDescription="Create a new document." ma:contentTypeScope="" ma:versionID="3674530fed0af13d2401daf628a668f0">
  <xsd:schema xmlns:xsd="http://www.w3.org/2001/XMLSchema" xmlns:xs="http://www.w3.org/2001/XMLSchema" xmlns:p="http://schemas.microsoft.com/office/2006/metadata/properties" xmlns:ns3="49af6fbc-ee81-42e1-8fae-dde56c7a295f" xmlns:ns4="b8927309-c6eb-4339-809c-525403903f56" targetNamespace="http://schemas.microsoft.com/office/2006/metadata/properties" ma:root="true" ma:fieldsID="fb19272c18fa36ffb21598b0d4834453" ns3:_="" ns4:_="">
    <xsd:import namespace="49af6fbc-ee81-42e1-8fae-dde56c7a295f"/>
    <xsd:import namespace="b8927309-c6eb-4339-809c-525403903f5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af6fbc-ee81-42e1-8fae-dde56c7a29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927309-c6eb-4339-809c-525403903f5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9af6fbc-ee81-42e1-8fae-dde56c7a295f" xsi:nil="true"/>
  </documentManagement>
</p:properties>
</file>

<file path=customXml/itemProps1.xml><?xml version="1.0" encoding="utf-8"?>
<ds:datastoreItem xmlns:ds="http://schemas.openxmlformats.org/officeDocument/2006/customXml" ds:itemID="{956D4E82-610F-4737-958F-67C9FC5431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0D62E4-C8C9-48DA-9B07-570DA300AE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af6fbc-ee81-42e1-8fae-dde56c7a295f"/>
    <ds:schemaRef ds:uri="b8927309-c6eb-4339-809c-525403903f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7A6627-FDE7-4854-9554-9DDC68E2CFF2}">
  <ds:schemaRefs>
    <ds:schemaRef ds:uri="http://schemas.openxmlformats.org/package/2006/metadata/core-properties"/>
    <ds:schemaRef ds:uri="http://purl.org/dc/elements/1.1/"/>
    <ds:schemaRef ds:uri="b8927309-c6eb-4339-809c-525403903f56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terms/"/>
    <ds:schemaRef ds:uri="http://schemas.microsoft.com/office/infopath/2007/PartnerControls"/>
    <ds:schemaRef ds:uri="49af6fbc-ee81-42e1-8fae-dde56c7a295f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45</TotalTime>
  <Words>299</Words>
  <Application>Microsoft Office PowerPoint</Application>
  <PresentationFormat>Widescreen</PresentationFormat>
  <Paragraphs>8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Verdana</vt:lpstr>
      <vt:lpstr>Wingdings 2</vt:lpstr>
      <vt:lpstr>Office Theme</vt:lpstr>
      <vt:lpstr>Deloitte Brand Theme</vt:lpstr>
      <vt:lpstr>Custom Design</vt:lpstr>
      <vt:lpstr>think-cell Slide</vt:lpstr>
      <vt:lpstr>Twitter Customer Complaint  Sentiment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itter Customer Complaint  Sentiment Analysis</dc:title>
  <dc:creator>Palacios Villagomez, Ari Jacobo</dc:creator>
  <cp:lastModifiedBy>Palacios Villagomez, Ari Jacobo</cp:lastModifiedBy>
  <cp:revision>2</cp:revision>
  <dcterms:created xsi:type="dcterms:W3CDTF">2023-03-29T17:40:10Z</dcterms:created>
  <dcterms:modified xsi:type="dcterms:W3CDTF">2023-04-10T08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3-29T17:40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48dea012-fea2-4731-be32-ccacc7ddf7c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744BBAB1E8BBB141897F20D7ACA32DCE</vt:lpwstr>
  </property>
</Properties>
</file>